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35"/>
  </p:notesMasterIdLst>
  <p:sldIdLst>
    <p:sldId id="4562" r:id="rId3"/>
    <p:sldId id="4563" r:id="rId4"/>
    <p:sldId id="4564" r:id="rId5"/>
    <p:sldId id="4565" r:id="rId6"/>
    <p:sldId id="4566" r:id="rId7"/>
    <p:sldId id="4567" r:id="rId8"/>
    <p:sldId id="4568" r:id="rId9"/>
    <p:sldId id="4569" r:id="rId10"/>
    <p:sldId id="4570" r:id="rId11"/>
    <p:sldId id="4571" r:id="rId12"/>
    <p:sldId id="4572" r:id="rId13"/>
    <p:sldId id="4573" r:id="rId14"/>
    <p:sldId id="4574" r:id="rId15"/>
    <p:sldId id="4575" r:id="rId16"/>
    <p:sldId id="4576" r:id="rId17"/>
    <p:sldId id="4577" r:id="rId18"/>
    <p:sldId id="4578" r:id="rId19"/>
    <p:sldId id="4579" r:id="rId20"/>
    <p:sldId id="4580" r:id="rId21"/>
    <p:sldId id="4581" r:id="rId22"/>
    <p:sldId id="4582" r:id="rId23"/>
    <p:sldId id="4583" r:id="rId24"/>
    <p:sldId id="4584" r:id="rId25"/>
    <p:sldId id="4585" r:id="rId26"/>
    <p:sldId id="4586" r:id="rId27"/>
    <p:sldId id="4587" r:id="rId28"/>
    <p:sldId id="4588" r:id="rId29"/>
    <p:sldId id="4589" r:id="rId30"/>
    <p:sldId id="4590" r:id="rId31"/>
    <p:sldId id="4591" r:id="rId32"/>
    <p:sldId id="4592" r:id="rId33"/>
    <p:sldId id="4593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1145"/>
    <a:srgbClr val="FF6600"/>
    <a:srgbClr val="4472C4"/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3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12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6979</c:v>
                </c:pt>
                <c:pt idx="1">
                  <c:v>7070</c:v>
                </c:pt>
                <c:pt idx="2">
                  <c:v>7033</c:v>
                </c:pt>
                <c:pt idx="3">
                  <c:v>6560</c:v>
                </c:pt>
                <c:pt idx="4">
                  <c:v>6667</c:v>
                </c:pt>
                <c:pt idx="5">
                  <c:v>7136</c:v>
                </c:pt>
                <c:pt idx="6">
                  <c:v>6914</c:v>
                </c:pt>
                <c:pt idx="7">
                  <c:v>6761</c:v>
                </c:pt>
                <c:pt idx="8">
                  <c:v>6591</c:v>
                </c:pt>
                <c:pt idx="9">
                  <c:v>6397</c:v>
                </c:pt>
                <c:pt idx="10">
                  <c:v>5870</c:v>
                </c:pt>
                <c:pt idx="11">
                  <c:v>5896</c:v>
                </c:pt>
                <c:pt idx="12">
                  <c:v>6382</c:v>
                </c:pt>
                <c:pt idx="13">
                  <c:v>6096</c:v>
                </c:pt>
                <c:pt idx="14">
                  <c:v>5847</c:v>
                </c:pt>
                <c:pt idx="15">
                  <c:v>5644</c:v>
                </c:pt>
                <c:pt idx="16">
                  <c:v>5335</c:v>
                </c:pt>
                <c:pt idx="17">
                  <c:v>4816</c:v>
                </c:pt>
                <c:pt idx="18">
                  <c:v>4798</c:v>
                </c:pt>
                <c:pt idx="19">
                  <c:v>5158</c:v>
                </c:pt>
                <c:pt idx="20">
                  <c:v>4908</c:v>
                </c:pt>
                <c:pt idx="21">
                  <c:v>4564</c:v>
                </c:pt>
                <c:pt idx="22">
                  <c:v>4114</c:v>
                </c:pt>
                <c:pt idx="23">
                  <c:v>3501</c:v>
                </c:pt>
                <c:pt idx="24">
                  <c:v>3333</c:v>
                </c:pt>
                <c:pt idx="25">
                  <c:v>3389</c:v>
                </c:pt>
                <c:pt idx="26">
                  <c:v>3748</c:v>
                </c:pt>
                <c:pt idx="27">
                  <c:v>3655</c:v>
                </c:pt>
                <c:pt idx="28">
                  <c:v>3472</c:v>
                </c:pt>
                <c:pt idx="29">
                  <c:v>3278</c:v>
                </c:pt>
                <c:pt idx="30">
                  <c:v>3115</c:v>
                </c:pt>
                <c:pt idx="31">
                  <c:v>2870</c:v>
                </c:pt>
                <c:pt idx="32">
                  <c:v>2890</c:v>
                </c:pt>
                <c:pt idx="33">
                  <c:v>3090</c:v>
                </c:pt>
                <c:pt idx="34">
                  <c:v>2995</c:v>
                </c:pt>
                <c:pt idx="35">
                  <c:v>2852</c:v>
                </c:pt>
                <c:pt idx="36">
                  <c:v>2728</c:v>
                </c:pt>
                <c:pt idx="37">
                  <c:v>2608</c:v>
                </c:pt>
                <c:pt idx="38">
                  <c:v>2375</c:v>
                </c:pt>
                <c:pt idx="39">
                  <c:v>2351</c:v>
                </c:pt>
                <c:pt idx="40">
                  <c:v>2477</c:v>
                </c:pt>
                <c:pt idx="41">
                  <c:v>2312</c:v>
                </c:pt>
                <c:pt idx="42">
                  <c:v>2127</c:v>
                </c:pt>
                <c:pt idx="43">
                  <c:v>2002</c:v>
                </c:pt>
                <c:pt idx="44">
                  <c:v>1850</c:v>
                </c:pt>
                <c:pt idx="45">
                  <c:v>1661</c:v>
                </c:pt>
                <c:pt idx="46">
                  <c:v>1667</c:v>
                </c:pt>
                <c:pt idx="47">
                  <c:v>1825</c:v>
                </c:pt>
                <c:pt idx="48">
                  <c:v>1738</c:v>
                </c:pt>
                <c:pt idx="49">
                  <c:v>1683</c:v>
                </c:pt>
                <c:pt idx="50">
                  <c:v>1660</c:v>
                </c:pt>
                <c:pt idx="51">
                  <c:v>1638</c:v>
                </c:pt>
                <c:pt idx="52">
                  <c:v>1538</c:v>
                </c:pt>
                <c:pt idx="53">
                  <c:v>1614</c:v>
                </c:pt>
                <c:pt idx="54">
                  <c:v>1911</c:v>
                </c:pt>
                <c:pt idx="55">
                  <c:v>1943</c:v>
                </c:pt>
                <c:pt idx="56">
                  <c:v>2034</c:v>
                </c:pt>
                <c:pt idx="57">
                  <c:v>2200</c:v>
                </c:pt>
                <c:pt idx="58">
                  <c:v>2383</c:v>
                </c:pt>
                <c:pt idx="59">
                  <c:v>2212</c:v>
                </c:pt>
                <c:pt idx="60">
                  <c:v>2380</c:v>
                </c:pt>
                <c:pt idx="61">
                  <c:v>2861</c:v>
                </c:pt>
                <c:pt idx="62">
                  <c:v>3061</c:v>
                </c:pt>
                <c:pt idx="63">
                  <c:v>3218</c:v>
                </c:pt>
                <c:pt idx="64">
                  <c:v>3294</c:v>
                </c:pt>
                <c:pt idx="65">
                  <c:v>3405</c:v>
                </c:pt>
                <c:pt idx="66">
                  <c:v>3216</c:v>
                </c:pt>
                <c:pt idx="67">
                  <c:v>3298</c:v>
                </c:pt>
                <c:pt idx="68">
                  <c:v>3905</c:v>
                </c:pt>
                <c:pt idx="69">
                  <c:v>3961</c:v>
                </c:pt>
                <c:pt idx="70">
                  <c:v>4020</c:v>
                </c:pt>
                <c:pt idx="71">
                  <c:v>4081</c:v>
                </c:pt>
                <c:pt idx="72">
                  <c:v>4151</c:v>
                </c:pt>
                <c:pt idx="73">
                  <c:v>3832</c:v>
                </c:pt>
                <c:pt idx="74">
                  <c:v>3859</c:v>
                </c:pt>
                <c:pt idx="75">
                  <c:v>4315</c:v>
                </c:pt>
                <c:pt idx="76">
                  <c:v>4172</c:v>
                </c:pt>
                <c:pt idx="77">
                  <c:v>4081</c:v>
                </c:pt>
                <c:pt idx="78">
                  <c:v>4001</c:v>
                </c:pt>
                <c:pt idx="79">
                  <c:v>3777</c:v>
                </c:pt>
                <c:pt idx="80">
                  <c:v>3459</c:v>
                </c:pt>
                <c:pt idx="81">
                  <c:v>3505</c:v>
                </c:pt>
                <c:pt idx="82">
                  <c:v>3882</c:v>
                </c:pt>
                <c:pt idx="83">
                  <c:v>3634</c:v>
                </c:pt>
                <c:pt idx="84">
                  <c:v>3430</c:v>
                </c:pt>
                <c:pt idx="85">
                  <c:v>3381</c:v>
                </c:pt>
                <c:pt idx="86">
                  <c:v>3193</c:v>
                </c:pt>
                <c:pt idx="87">
                  <c:v>2862</c:v>
                </c:pt>
                <c:pt idx="88">
                  <c:v>2885</c:v>
                </c:pt>
                <c:pt idx="89">
                  <c:v>3204</c:v>
                </c:pt>
                <c:pt idx="90">
                  <c:v>2958</c:v>
                </c:pt>
                <c:pt idx="91">
                  <c:v>2716</c:v>
                </c:pt>
                <c:pt idx="92">
                  <c:v>2590</c:v>
                </c:pt>
                <c:pt idx="93">
                  <c:v>24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717.3203728109293</c:v>
                </c:pt>
                <c:pt idx="32">
                  <c:v>3587.2524645937979</c:v>
                </c:pt>
                <c:pt idx="33">
                  <c:v>3459.5956048514786</c:v>
                </c:pt>
                <c:pt idx="34">
                  <c:v>3334.4575969322723</c:v>
                </c:pt>
                <c:pt idx="35">
                  <c:v>3211.9302602029848</c:v>
                </c:pt>
                <c:pt idx="36">
                  <c:v>3095.5777981525002</c:v>
                </c:pt>
                <c:pt idx="37">
                  <c:v>2981.7236110340596</c:v>
                </c:pt>
                <c:pt idx="38">
                  <c:v>2870.4308047313343</c:v>
                </c:pt>
                <c:pt idx="39">
                  <c:v>2761.7517847744502</c:v>
                </c:pt>
                <c:pt idx="40">
                  <c:v>2655.7319370443538</c:v>
                </c:pt>
                <c:pt idx="41">
                  <c:v>2554.4562197140135</c:v>
                </c:pt>
                <c:pt idx="42">
                  <c:v>2459.3353668178761</c:v>
                </c:pt>
                <c:pt idx="43">
                  <c:v>2371.0372711414566</c:v>
                </c:pt>
                <c:pt idx="44">
                  <c:v>2289.7764949863458</c:v>
                </c:pt>
                <c:pt idx="45">
                  <c:v>2215.5165377155563</c:v>
                </c:pt>
                <c:pt idx="46">
                  <c:v>2148.0834435121055</c:v>
                </c:pt>
                <c:pt idx="47">
                  <c:v>2087.2255968651843</c:v>
                </c:pt>
                <c:pt idx="48">
                  <c:v>2032.6247191234636</c:v>
                </c:pt>
                <c:pt idx="49">
                  <c:v>1983.9103024905471</c:v>
                </c:pt>
                <c:pt idx="50">
                  <c:v>1940.6618669077202</c:v>
                </c:pt>
                <c:pt idx="51">
                  <c:v>1902.4486812179316</c:v>
                </c:pt>
                <c:pt idx="52">
                  <c:v>1868.8246095161317</c:v>
                </c:pt>
                <c:pt idx="53">
                  <c:v>1839.350422416348</c:v>
                </c:pt>
                <c:pt idx="54">
                  <c:v>1813.607844860044</c:v>
                </c:pt>
                <c:pt idx="55">
                  <c:v>1791.1552391249143</c:v>
                </c:pt>
                <c:pt idx="56">
                  <c:v>1771.4717173397225</c:v>
                </c:pt>
                <c:pt idx="57">
                  <c:v>1754.0398397381921</c:v>
                </c:pt>
                <c:pt idx="58">
                  <c:v>1738.4116843504078</c:v>
                </c:pt>
                <c:pt idx="59">
                  <c:v>1724.2103779239624</c:v>
                </c:pt>
                <c:pt idx="60">
                  <c:v>1711.1166117689929</c:v>
                </c:pt>
                <c:pt idx="61">
                  <c:v>1698.8592428521195</c:v>
                </c:pt>
                <c:pt idx="62">
                  <c:v>1687.2045233318549</c:v>
                </c:pt>
                <c:pt idx="63">
                  <c:v>1675.9371042929934</c:v>
                </c:pt>
                <c:pt idx="64">
                  <c:v>1664.8691617892382</c:v>
                </c:pt>
                <c:pt idx="65">
                  <c:v>1653.8477541666705</c:v>
                </c:pt>
                <c:pt idx="66">
                  <c:v>1642.7470920830849</c:v>
                </c:pt>
                <c:pt idx="67">
                  <c:v>1631.4708726549154</c:v>
                </c:pt>
                <c:pt idx="68">
                  <c:v>1619.9457783617115</c:v>
                </c:pt>
                <c:pt idx="69">
                  <c:v>1608.1164182539669</c:v>
                </c:pt>
                <c:pt idx="70">
                  <c:v>1595.9449655972951</c:v>
                </c:pt>
                <c:pt idx="71">
                  <c:v>1583.4076573575637</c:v>
                </c:pt>
                <c:pt idx="72">
                  <c:v>1570.4921465617326</c:v>
                </c:pt>
                <c:pt idx="73">
                  <c:v>1557.1936812698145</c:v>
                </c:pt>
                <c:pt idx="74">
                  <c:v>1543.5146610912534</c:v>
                </c:pt>
                <c:pt idx="75">
                  <c:v>1529.4655735561521</c:v>
                </c:pt>
                <c:pt idx="76">
                  <c:v>1515.0626691981038</c:v>
                </c:pt>
                <c:pt idx="77">
                  <c:v>1500.325181473997</c:v>
                </c:pt>
                <c:pt idx="78">
                  <c:v>1485.2719143283566</c:v>
                </c:pt>
                <c:pt idx="79">
                  <c:v>1469.9219746993945</c:v>
                </c:pt>
                <c:pt idx="80">
                  <c:v>1454.2938407099214</c:v>
                </c:pt>
                <c:pt idx="81">
                  <c:v>1438.4086354984336</c:v>
                </c:pt>
                <c:pt idx="82">
                  <c:v>1422.289170980149</c:v>
                </c:pt>
                <c:pt idx="83">
                  <c:v>1405.958131271449</c:v>
                </c:pt>
                <c:pt idx="84">
                  <c:v>1389.4382886818582</c:v>
                </c:pt>
                <c:pt idx="85">
                  <c:v>1372.7517863014632</c:v>
                </c:pt>
                <c:pt idx="86">
                  <c:v>1355.9198274592079</c:v>
                </c:pt>
                <c:pt idx="87">
                  <c:v>1338.9626530210999</c:v>
                </c:pt>
                <c:pt idx="88">
                  <c:v>1321.8995366256718</c:v>
                </c:pt>
                <c:pt idx="89">
                  <c:v>1304.7480061581841</c:v>
                </c:pt>
                <c:pt idx="90">
                  <c:v>1287.5247882388519</c:v>
                </c:pt>
                <c:pt idx="91">
                  <c:v>1270.2458857563975</c:v>
                </c:pt>
                <c:pt idx="92">
                  <c:v>1252.9264493519463</c:v>
                </c:pt>
                <c:pt idx="93">
                  <c:v>1235.58071686963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717.3203728109293</c:v>
                </c:pt>
                <c:pt idx="32">
                  <c:v>3587.2524645937979</c:v>
                </c:pt>
                <c:pt idx="33">
                  <c:v>3459.5956048514786</c:v>
                </c:pt>
                <c:pt idx="34">
                  <c:v>3341.4494120366089</c:v>
                </c:pt>
                <c:pt idx="35">
                  <c:v>3237.6080944700898</c:v>
                </c:pt>
                <c:pt idx="36">
                  <c:v>3154.0826688712214</c:v>
                </c:pt>
                <c:pt idx="37">
                  <c:v>3088.318636930941</c:v>
                </c:pt>
                <c:pt idx="38">
                  <c:v>3040.8462170980793</c:v>
                </c:pt>
                <c:pt idx="39">
                  <c:v>2993.3737972652175</c:v>
                </c:pt>
                <c:pt idx="40">
                  <c:v>2988.1021406400009</c:v>
                </c:pt>
                <c:pt idx="41">
                  <c:v>2991.952970828213</c:v>
                </c:pt>
                <c:pt idx="42">
                  <c:v>3004.7346475705394</c:v>
                </c:pt>
                <c:pt idx="43">
                  <c:v>3026.1652168627138</c:v>
                </c:pt>
                <c:pt idx="44">
                  <c:v>3055.9312389224992</c:v>
                </c:pt>
                <c:pt idx="45">
                  <c:v>3093.6707343456947</c:v>
                </c:pt>
                <c:pt idx="46">
                  <c:v>3139.0058771379177</c:v>
                </c:pt>
                <c:pt idx="47">
                  <c:v>3191.5623812651497</c:v>
                </c:pt>
                <c:pt idx="48">
                  <c:v>3250.8904250618698</c:v>
                </c:pt>
                <c:pt idx="49">
                  <c:v>3316.3655857584467</c:v>
                </c:pt>
                <c:pt idx="50">
                  <c:v>3387.3271561960128</c:v>
                </c:pt>
                <c:pt idx="51">
                  <c:v>3463.1852683283782</c:v>
                </c:pt>
                <c:pt idx="52">
                  <c:v>3543.4191327859157</c:v>
                </c:pt>
                <c:pt idx="53">
                  <c:v>3627.5538472738222</c:v>
                </c:pt>
                <c:pt idx="54">
                  <c:v>3715.1465031019447</c:v>
                </c:pt>
                <c:pt idx="55">
                  <c:v>3805.770495090846</c:v>
                </c:pt>
                <c:pt idx="56">
                  <c:v>3898.9857757511704</c:v>
                </c:pt>
                <c:pt idx="57">
                  <c:v>3994.3566193963084</c:v>
                </c:pt>
                <c:pt idx="58">
                  <c:v>4091.4660218999365</c:v>
                </c:pt>
                <c:pt idx="59">
                  <c:v>4189.9040595255101</c:v>
                </c:pt>
                <c:pt idx="60">
                  <c:v>4289.2746976934486</c:v>
                </c:pt>
                <c:pt idx="61">
                  <c:v>4389.1875105910149</c:v>
                </c:pt>
                <c:pt idx="62">
                  <c:v>4489.252089311949</c:v>
                </c:pt>
                <c:pt idx="63">
                  <c:v>4589.0704846952885</c:v>
                </c:pt>
                <c:pt idx="64">
                  <c:v>4688.2372818819058</c:v>
                </c:pt>
                <c:pt idx="65">
                  <c:v>4786.3421252342905</c:v>
                </c:pt>
                <c:pt idx="66">
                  <c:v>4882.9682211833424</c:v>
                </c:pt>
                <c:pt idx="67">
                  <c:v>4977.6960236182822</c:v>
                </c:pt>
                <c:pt idx="68">
                  <c:v>5070.1090732931771</c:v>
                </c:pt>
                <c:pt idx="69">
                  <c:v>5159.7941354579216</c:v>
                </c:pt>
                <c:pt idx="70">
                  <c:v>5246.3608702131678</c:v>
                </c:pt>
                <c:pt idx="71">
                  <c:v>5329.4347783051817</c:v>
                </c:pt>
                <c:pt idx="72">
                  <c:v>5408.6568056673186</c:v>
                </c:pt>
                <c:pt idx="73">
                  <c:v>5483.6821334499273</c:v>
                </c:pt>
                <c:pt idx="74">
                  <c:v>5554.1877572500089</c:v>
                </c:pt>
                <c:pt idx="75">
                  <c:v>5619.8731986201983</c:v>
                </c:pt>
                <c:pt idx="76">
                  <c:v>5680.4600548025755</c:v>
                </c:pt>
                <c:pt idx="77">
                  <c:v>5735.6948115955929</c:v>
                </c:pt>
                <c:pt idx="78">
                  <c:v>5785.3500940379417</c:v>
                </c:pt>
                <c:pt idx="79">
                  <c:v>5829.2258782996378</c:v>
                </c:pt>
                <c:pt idx="80">
                  <c:v>5867.1509274320852</c:v>
                </c:pt>
                <c:pt idx="81">
                  <c:v>5898.9838520922058</c:v>
                </c:pt>
                <c:pt idx="82">
                  <c:v>5924.6128282659174</c:v>
                </c:pt>
                <c:pt idx="83">
                  <c:v>5943.9579213279048</c:v>
                </c:pt>
                <c:pt idx="84">
                  <c:v>5956.9712378841396</c:v>
                </c:pt>
                <c:pt idx="85">
                  <c:v>5963.6359759147308</c:v>
                </c:pt>
                <c:pt idx="86">
                  <c:v>5963.9659388367181</c:v>
                </c:pt>
                <c:pt idx="87">
                  <c:v>5958.0054568619216</c:v>
                </c:pt>
                <c:pt idx="88">
                  <c:v>5945.8289837674856</c:v>
                </c:pt>
                <c:pt idx="89">
                  <c:v>5927.5403774987335</c:v>
                </c:pt>
                <c:pt idx="90">
                  <c:v>5903.2718439096479</c:v>
                </c:pt>
                <c:pt idx="91">
                  <c:v>5873.1825739699743</c:v>
                </c:pt>
                <c:pt idx="92">
                  <c:v>5837.4569213878949</c:v>
                </c:pt>
                <c:pt idx="93">
                  <c:v>5796.3025292171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717.3203728109293</c:v>
                </c:pt>
                <c:pt idx="32">
                  <c:v>3587.2524645937979</c:v>
                </c:pt>
                <c:pt idx="33">
                  <c:v>3459.5956048514786</c:v>
                </c:pt>
                <c:pt idx="34">
                  <c:v>3341.4494120366089</c:v>
                </c:pt>
                <c:pt idx="35">
                  <c:v>3237.6080944700898</c:v>
                </c:pt>
                <c:pt idx="36">
                  <c:v>3154.0826688712214</c:v>
                </c:pt>
                <c:pt idx="37">
                  <c:v>3088.318636930941</c:v>
                </c:pt>
                <c:pt idx="38">
                  <c:v>3040.8462170980793</c:v>
                </c:pt>
                <c:pt idx="39">
                  <c:v>3011.8460315895509</c:v>
                </c:pt>
                <c:pt idx="40">
                  <c:v>3001.3027183391177</c:v>
                </c:pt>
                <c:pt idx="41">
                  <c:v>3009.0043787155414</c:v>
                </c:pt>
                <c:pt idx="42">
                  <c:v>3034.5677322001943</c:v>
                </c:pt>
                <c:pt idx="43">
                  <c:v>3077.428870784544</c:v>
                </c:pt>
                <c:pt idx="44">
                  <c:v>3136.9609149041139</c:v>
                </c:pt>
                <c:pt idx="45">
                  <c:v>3212.4399057505052</c:v>
                </c:pt>
                <c:pt idx="46">
                  <c:v>3303.1101913349512</c:v>
                </c:pt>
                <c:pt idx="47">
                  <c:v>3408.2231995894163</c:v>
                </c:pt>
                <c:pt idx="48">
                  <c:v>3526.8792871828559</c:v>
                </c:pt>
                <c:pt idx="49">
                  <c:v>3657.8296085760094</c:v>
                </c:pt>
                <c:pt idx="50">
                  <c:v>3799.7527494511419</c:v>
                </c:pt>
                <c:pt idx="51">
                  <c:v>3951.4689737158737</c:v>
                </c:pt>
                <c:pt idx="52">
                  <c:v>4111.9367026309465</c:v>
                </c:pt>
                <c:pt idx="53">
                  <c:v>4280.2061316067593</c:v>
                </c:pt>
                <c:pt idx="54">
                  <c:v>4455.3914432630063</c:v>
                </c:pt>
                <c:pt idx="55">
                  <c:v>4636.6394272408079</c:v>
                </c:pt>
                <c:pt idx="56">
                  <c:v>4823.0699885614558</c:v>
                </c:pt>
                <c:pt idx="57">
                  <c:v>5013.8116758517326</c:v>
                </c:pt>
                <c:pt idx="58">
                  <c:v>5208.0304808589881</c:v>
                </c:pt>
                <c:pt idx="59">
                  <c:v>5404.906556110137</c:v>
                </c:pt>
                <c:pt idx="60">
                  <c:v>5603.6478324460131</c:v>
                </c:pt>
                <c:pt idx="61">
                  <c:v>5803.4734582411438</c:v>
                </c:pt>
                <c:pt idx="62">
                  <c:v>6003.6026156830139</c:v>
                </c:pt>
                <c:pt idx="63">
                  <c:v>6203.2394064496939</c:v>
                </c:pt>
                <c:pt idx="64">
                  <c:v>6401.5730008229275</c:v>
                </c:pt>
                <c:pt idx="65">
                  <c:v>6597.7826875276942</c:v>
                </c:pt>
                <c:pt idx="66">
                  <c:v>6791.0348794257998</c:v>
                </c:pt>
                <c:pt idx="67">
                  <c:v>6980.4904842956785</c:v>
                </c:pt>
                <c:pt idx="68">
                  <c:v>7165.31658364547</c:v>
                </c:pt>
                <c:pt idx="69">
                  <c:v>7344.6867079749563</c:v>
                </c:pt>
                <c:pt idx="70">
                  <c:v>7517.8201774854497</c:v>
                </c:pt>
                <c:pt idx="71">
                  <c:v>7683.9679936694802</c:v>
                </c:pt>
                <c:pt idx="72">
                  <c:v>7842.4120483937531</c:v>
                </c:pt>
                <c:pt idx="73">
                  <c:v>7992.4627039589695</c:v>
                </c:pt>
                <c:pt idx="74">
                  <c:v>8133.4739515591327</c:v>
                </c:pt>
                <c:pt idx="75">
                  <c:v>8264.8448342995143</c:v>
                </c:pt>
                <c:pt idx="76">
                  <c:v>8386.018546664267</c:v>
                </c:pt>
                <c:pt idx="77">
                  <c:v>8496.4880602502981</c:v>
                </c:pt>
                <c:pt idx="78">
                  <c:v>8595.7986251349994</c:v>
                </c:pt>
                <c:pt idx="79">
                  <c:v>8683.5501936583878</c:v>
                </c:pt>
                <c:pt idx="80">
                  <c:v>8759.4002919232862</c:v>
                </c:pt>
                <c:pt idx="81">
                  <c:v>8823.0661412435256</c:v>
                </c:pt>
                <c:pt idx="82">
                  <c:v>8874.3240935909489</c:v>
                </c:pt>
                <c:pt idx="83">
                  <c:v>8913.0142797149238</c:v>
                </c:pt>
                <c:pt idx="84">
                  <c:v>8939.0409128273932</c:v>
                </c:pt>
                <c:pt idx="85">
                  <c:v>8952.3703888885793</c:v>
                </c:pt>
                <c:pt idx="86">
                  <c:v>8953.0303147325521</c:v>
                </c:pt>
                <c:pt idx="87">
                  <c:v>8941.1093507829573</c:v>
                </c:pt>
                <c:pt idx="88">
                  <c:v>8916.7564045940835</c:v>
                </c:pt>
                <c:pt idx="89">
                  <c:v>8880.1791920565811</c:v>
                </c:pt>
                <c:pt idx="90">
                  <c:v>8831.6421248784118</c:v>
                </c:pt>
                <c:pt idx="91">
                  <c:v>8771.4635849990609</c:v>
                </c:pt>
                <c:pt idx="92">
                  <c:v>8700.0122798349021</c:v>
                </c:pt>
                <c:pt idx="93">
                  <c:v>8617.7034954934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406</c:v>
                </c:pt>
                <c:pt idx="1">
                  <c:v>417</c:v>
                </c:pt>
                <c:pt idx="2">
                  <c:v>393</c:v>
                </c:pt>
                <c:pt idx="3">
                  <c:v>375</c:v>
                </c:pt>
                <c:pt idx="4">
                  <c:v>386</c:v>
                </c:pt>
                <c:pt idx="5">
                  <c:v>412</c:v>
                </c:pt>
                <c:pt idx="6">
                  <c:v>394</c:v>
                </c:pt>
                <c:pt idx="7">
                  <c:v>372</c:v>
                </c:pt>
                <c:pt idx="8">
                  <c:v>357</c:v>
                </c:pt>
                <c:pt idx="9">
                  <c:v>343</c:v>
                </c:pt>
                <c:pt idx="10">
                  <c:v>311</c:v>
                </c:pt>
                <c:pt idx="11">
                  <c:v>312</c:v>
                </c:pt>
                <c:pt idx="12">
                  <c:v>330</c:v>
                </c:pt>
                <c:pt idx="13">
                  <c:v>309</c:v>
                </c:pt>
                <c:pt idx="14">
                  <c:v>294</c:v>
                </c:pt>
                <c:pt idx="15">
                  <c:v>294</c:v>
                </c:pt>
                <c:pt idx="16">
                  <c:v>283</c:v>
                </c:pt>
                <c:pt idx="17">
                  <c:v>239</c:v>
                </c:pt>
                <c:pt idx="18">
                  <c:v>237</c:v>
                </c:pt>
                <c:pt idx="19">
                  <c:v>251</c:v>
                </c:pt>
                <c:pt idx="20">
                  <c:v>252</c:v>
                </c:pt>
                <c:pt idx="21">
                  <c:v>230</c:v>
                </c:pt>
                <c:pt idx="22">
                  <c:v>220</c:v>
                </c:pt>
                <c:pt idx="23">
                  <c:v>185</c:v>
                </c:pt>
                <c:pt idx="24">
                  <c:v>182</c:v>
                </c:pt>
                <c:pt idx="25">
                  <c:v>176</c:v>
                </c:pt>
                <c:pt idx="26">
                  <c:v>181</c:v>
                </c:pt>
                <c:pt idx="27">
                  <c:v>179</c:v>
                </c:pt>
                <c:pt idx="28">
                  <c:v>169</c:v>
                </c:pt>
                <c:pt idx="29">
                  <c:v>158</c:v>
                </c:pt>
                <c:pt idx="30">
                  <c:v>150</c:v>
                </c:pt>
                <c:pt idx="31">
                  <c:v>140</c:v>
                </c:pt>
                <c:pt idx="32">
                  <c:v>139</c:v>
                </c:pt>
                <c:pt idx="33">
                  <c:v>152</c:v>
                </c:pt>
                <c:pt idx="34">
                  <c:v>150</c:v>
                </c:pt>
                <c:pt idx="35">
                  <c:v>140</c:v>
                </c:pt>
                <c:pt idx="36">
                  <c:v>123</c:v>
                </c:pt>
                <c:pt idx="37">
                  <c:v>114</c:v>
                </c:pt>
                <c:pt idx="38">
                  <c:v>117</c:v>
                </c:pt>
                <c:pt idx="39">
                  <c:v>117</c:v>
                </c:pt>
                <c:pt idx="40">
                  <c:v>129</c:v>
                </c:pt>
                <c:pt idx="41">
                  <c:v>109</c:v>
                </c:pt>
                <c:pt idx="42">
                  <c:v>96</c:v>
                </c:pt>
                <c:pt idx="43">
                  <c:v>98</c:v>
                </c:pt>
                <c:pt idx="44">
                  <c:v>87</c:v>
                </c:pt>
                <c:pt idx="45">
                  <c:v>75</c:v>
                </c:pt>
                <c:pt idx="46">
                  <c:v>74</c:v>
                </c:pt>
                <c:pt idx="47">
                  <c:v>83</c:v>
                </c:pt>
                <c:pt idx="48">
                  <c:v>80</c:v>
                </c:pt>
                <c:pt idx="49">
                  <c:v>74</c:v>
                </c:pt>
                <c:pt idx="50">
                  <c:v>69</c:v>
                </c:pt>
                <c:pt idx="51">
                  <c:v>74</c:v>
                </c:pt>
                <c:pt idx="52">
                  <c:v>71</c:v>
                </c:pt>
                <c:pt idx="53">
                  <c:v>68</c:v>
                </c:pt>
                <c:pt idx="54">
                  <c:v>75</c:v>
                </c:pt>
                <c:pt idx="55">
                  <c:v>73</c:v>
                </c:pt>
                <c:pt idx="56">
                  <c:v>100</c:v>
                </c:pt>
                <c:pt idx="57">
                  <c:v>102</c:v>
                </c:pt>
                <c:pt idx="58">
                  <c:v>101</c:v>
                </c:pt>
                <c:pt idx="59">
                  <c:v>102</c:v>
                </c:pt>
                <c:pt idx="60">
                  <c:v>113</c:v>
                </c:pt>
                <c:pt idx="61">
                  <c:v>130</c:v>
                </c:pt>
                <c:pt idx="62">
                  <c:v>142</c:v>
                </c:pt>
                <c:pt idx="63">
                  <c:v>158</c:v>
                </c:pt>
                <c:pt idx="64">
                  <c:v>165</c:v>
                </c:pt>
                <c:pt idx="65">
                  <c:v>176</c:v>
                </c:pt>
                <c:pt idx="66">
                  <c:v>171</c:v>
                </c:pt>
                <c:pt idx="67">
                  <c:v>180</c:v>
                </c:pt>
                <c:pt idx="68">
                  <c:v>203</c:v>
                </c:pt>
                <c:pt idx="69">
                  <c:v>194</c:v>
                </c:pt>
                <c:pt idx="70">
                  <c:v>191</c:v>
                </c:pt>
                <c:pt idx="71">
                  <c:v>188</c:v>
                </c:pt>
                <c:pt idx="72">
                  <c:v>199</c:v>
                </c:pt>
                <c:pt idx="73">
                  <c:v>172</c:v>
                </c:pt>
                <c:pt idx="74">
                  <c:v>178</c:v>
                </c:pt>
                <c:pt idx="75">
                  <c:v>192</c:v>
                </c:pt>
                <c:pt idx="76">
                  <c:v>185</c:v>
                </c:pt>
                <c:pt idx="77">
                  <c:v>170</c:v>
                </c:pt>
                <c:pt idx="78">
                  <c:v>184</c:v>
                </c:pt>
                <c:pt idx="79">
                  <c:v>189</c:v>
                </c:pt>
                <c:pt idx="80">
                  <c:v>164</c:v>
                </c:pt>
                <c:pt idx="81">
                  <c:v>167</c:v>
                </c:pt>
                <c:pt idx="82">
                  <c:v>190</c:v>
                </c:pt>
                <c:pt idx="83">
                  <c:v>184</c:v>
                </c:pt>
                <c:pt idx="84">
                  <c:v>173</c:v>
                </c:pt>
                <c:pt idx="85">
                  <c:v>161</c:v>
                </c:pt>
                <c:pt idx="86">
                  <c:v>141</c:v>
                </c:pt>
                <c:pt idx="87">
                  <c:v>128</c:v>
                </c:pt>
                <c:pt idx="88">
                  <c:v>128</c:v>
                </c:pt>
                <c:pt idx="89">
                  <c:v>141</c:v>
                </c:pt>
                <c:pt idx="90">
                  <c:v>122</c:v>
                </c:pt>
                <c:pt idx="91">
                  <c:v>113</c:v>
                </c:pt>
                <c:pt idx="92">
                  <c:v>107</c:v>
                </c:pt>
                <c:pt idx="93">
                  <c:v>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3.03859254128997</c:v>
                </c:pt>
                <c:pt idx="32">
                  <c:v>166.98402486471838</c:v>
                </c:pt>
                <c:pt idx="33">
                  <c:v>161.04168976236392</c:v>
                </c:pt>
                <c:pt idx="34">
                  <c:v>155.21660540263562</c:v>
                </c:pt>
                <c:pt idx="35">
                  <c:v>149.51304591108814</c:v>
                </c:pt>
                <c:pt idx="36">
                  <c:v>144.09692239932707</c:v>
                </c:pt>
                <c:pt idx="37">
                  <c:v>138.79709179069698</c:v>
                </c:pt>
                <c:pt idx="38">
                  <c:v>133.61649161874254</c:v>
                </c:pt>
                <c:pt idx="39">
                  <c:v>128.55756132323893</c:v>
                </c:pt>
                <c:pt idx="40">
                  <c:v>123.62241358433543</c:v>
                </c:pt>
                <c:pt idx="41">
                  <c:v>118.90810170698707</c:v>
                </c:pt>
                <c:pt idx="42">
                  <c:v>114.48029434691591</c:v>
                </c:pt>
                <c:pt idx="43">
                  <c:v>110.37008143342138</c:v>
                </c:pt>
                <c:pt idx="44">
                  <c:v>106.58745068748422</c:v>
                </c:pt>
                <c:pt idx="45">
                  <c:v>103.13070303067759</c:v>
                </c:pt>
                <c:pt idx="46">
                  <c:v>99.991740944704375</c:v>
                </c:pt>
                <c:pt idx="47">
                  <c:v>97.15885190831662</c:v>
                </c:pt>
                <c:pt idx="48">
                  <c:v>94.617220278971189</c:v>
                </c:pt>
                <c:pt idx="49">
                  <c:v>92.34959918494755</c:v>
                </c:pt>
                <c:pt idx="50">
                  <c:v>90.336415581618226</c:v>
                </c:pt>
                <c:pt idx="51">
                  <c:v>88.557619243093356</c:v>
                </c:pt>
                <c:pt idx="52">
                  <c:v>86.992442863531735</c:v>
                </c:pt>
                <c:pt idx="53">
                  <c:v>85.620440630593009</c:v>
                </c:pt>
                <c:pt idx="54">
                  <c:v>84.422142140823752</c:v>
                </c:pt>
                <c:pt idx="55">
                  <c:v>83.376989475557636</c:v>
                </c:pt>
                <c:pt idx="56">
                  <c:v>82.460735678635132</c:v>
                </c:pt>
                <c:pt idx="57">
                  <c:v>81.649294300705165</c:v>
                </c:pt>
                <c:pt idx="58">
                  <c:v>80.921814895890265</c:v>
                </c:pt>
                <c:pt idx="59">
                  <c:v>80.260754285066056</c:v>
                </c:pt>
                <c:pt idx="60">
                  <c:v>79.651248878135675</c:v>
                </c:pt>
                <c:pt idx="61">
                  <c:v>79.080677161705623</c:v>
                </c:pt>
                <c:pt idx="62">
                  <c:v>78.538158341697354</c:v>
                </c:pt>
                <c:pt idx="63">
                  <c:v>78.013668080831508</c:v>
                </c:pt>
                <c:pt idx="64">
                  <c:v>77.498463309355358</c:v>
                </c:pt>
                <c:pt idx="65">
                  <c:v>76.985424703164185</c:v>
                </c:pt>
                <c:pt idx="66">
                  <c:v>76.468696858755223</c:v>
                </c:pt>
                <c:pt idx="67">
                  <c:v>75.943796946089975</c:v>
                </c:pt>
                <c:pt idx="68">
                  <c:v>75.407312087268508</c:v>
                </c:pt>
                <c:pt idx="69">
                  <c:v>74.85666387338847</c:v>
                </c:pt>
                <c:pt idx="70">
                  <c:v>74.290091497141844</c:v>
                </c:pt>
                <c:pt idx="71">
                  <c:v>73.706488806363012</c:v>
                </c:pt>
                <c:pt idx="72">
                  <c:v>73.105281058327975</c:v>
                </c:pt>
                <c:pt idx="73">
                  <c:v>72.486247053644476</c:v>
                </c:pt>
                <c:pt idx="74">
                  <c:v>71.849498492408074</c:v>
                </c:pt>
                <c:pt idx="75">
                  <c:v>71.195523561610003</c:v>
                </c:pt>
                <c:pt idx="76">
                  <c:v>70.525078711913352</c:v>
                </c:pt>
                <c:pt idx="77">
                  <c:v>69.839059246917486</c:v>
                </c:pt>
                <c:pt idx="78">
                  <c:v>69.138340476729823</c:v>
                </c:pt>
                <c:pt idx="79">
                  <c:v>68.423811815596181</c:v>
                </c:pt>
                <c:pt idx="80">
                  <c:v>67.696333406857306</c:v>
                </c:pt>
                <c:pt idx="81">
                  <c:v>66.956888517433669</c:v>
                </c:pt>
                <c:pt idx="82">
                  <c:v>66.20653902558881</c:v>
                </c:pt>
                <c:pt idx="83">
                  <c:v>65.446340860642238</c:v>
                </c:pt>
                <c:pt idx="84">
                  <c:v>64.677354057240919</c:v>
                </c:pt>
                <c:pt idx="85">
                  <c:v>63.900609360319073</c:v>
                </c:pt>
                <c:pt idx="86">
                  <c:v>63.117093769604907</c:v>
                </c:pt>
                <c:pt idx="87">
                  <c:v>62.327749482868441</c:v>
                </c:pt>
                <c:pt idx="88">
                  <c:v>61.533473674135706</c:v>
                </c:pt>
                <c:pt idx="89">
                  <c:v>60.735082253872164</c:v>
                </c:pt>
                <c:pt idx="90">
                  <c:v>59.93335383423112</c:v>
                </c:pt>
                <c:pt idx="91">
                  <c:v>59.129033338184868</c:v>
                </c:pt>
                <c:pt idx="92">
                  <c:v>58.322826017192405</c:v>
                </c:pt>
                <c:pt idx="93">
                  <c:v>57.5153946326685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3.03859254128997</c:v>
                </c:pt>
                <c:pt idx="32">
                  <c:v>166.98402486471838</c:v>
                </c:pt>
                <c:pt idx="33">
                  <c:v>161.04168976236392</c:v>
                </c:pt>
                <c:pt idx="34">
                  <c:v>155.54206937227687</c:v>
                </c:pt>
                <c:pt idx="35">
                  <c:v>150.70833064726182</c:v>
                </c:pt>
                <c:pt idx="36">
                  <c:v>146.82028209681866</c:v>
                </c:pt>
                <c:pt idx="37">
                  <c:v>143.75901366001142</c:v>
                </c:pt>
                <c:pt idx="38">
                  <c:v>141.54920662468291</c:v>
                </c:pt>
                <c:pt idx="39">
                  <c:v>139.3393995893544</c:v>
                </c:pt>
                <c:pt idx="40">
                  <c:v>139.09400776102009</c:v>
                </c:pt>
                <c:pt idx="41">
                  <c:v>139.27326113954442</c:v>
                </c:pt>
                <c:pt idx="42">
                  <c:v>139.86823900854566</c:v>
                </c:pt>
                <c:pt idx="43">
                  <c:v>140.86581661170294</c:v>
                </c:pt>
                <c:pt idx="44">
                  <c:v>142.25140355235274</c:v>
                </c:pt>
                <c:pt idx="45">
                  <c:v>144.00814994930374</c:v>
                </c:pt>
                <c:pt idx="46">
                  <c:v>146.11846827397716</c:v>
                </c:pt>
                <c:pt idx="47">
                  <c:v>148.56493578040568</c:v>
                </c:pt>
                <c:pt idx="48">
                  <c:v>151.32661359324632</c:v>
                </c:pt>
                <c:pt idx="49">
                  <c:v>154.37443528120679</c:v>
                </c:pt>
                <c:pt idx="50">
                  <c:v>157.67764540074538</c:v>
                </c:pt>
                <c:pt idx="51">
                  <c:v>161.20878601811921</c:v>
                </c:pt>
                <c:pt idx="52">
                  <c:v>164.94361476234783</c:v>
                </c:pt>
                <c:pt idx="53">
                  <c:v>168.86002527281505</c:v>
                </c:pt>
                <c:pt idx="54">
                  <c:v>172.93740046821441</c:v>
                </c:pt>
                <c:pt idx="55">
                  <c:v>177.15588218394953</c:v>
                </c:pt>
                <c:pt idx="56">
                  <c:v>181.49498652555539</c:v>
                </c:pt>
                <c:pt idx="57">
                  <c:v>185.93443077537967</c:v>
                </c:pt>
                <c:pt idx="58">
                  <c:v>190.45480369095031</c:v>
                </c:pt>
                <c:pt idx="59">
                  <c:v>195.03702361685234</c:v>
                </c:pt>
                <c:pt idx="60">
                  <c:v>199.66265542794844</c:v>
                </c:pt>
                <c:pt idx="61">
                  <c:v>204.31352508316809</c:v>
                </c:pt>
                <c:pt idx="62">
                  <c:v>208.97145932842508</c:v>
                </c:pt>
                <c:pt idx="63">
                  <c:v>213.61793391619437</c:v>
                </c:pt>
                <c:pt idx="64">
                  <c:v>218.23407707606523</c:v>
                </c:pt>
                <c:pt idx="65">
                  <c:v>222.80078704794309</c:v>
                </c:pt>
                <c:pt idx="66">
                  <c:v>227.29866239064336</c:v>
                </c:pt>
                <c:pt idx="67">
                  <c:v>231.7081735341439</c:v>
                </c:pt>
                <c:pt idx="68">
                  <c:v>236.00993459976337</c:v>
                </c:pt>
                <c:pt idx="69">
                  <c:v>240.18470980678447</c:v>
                </c:pt>
                <c:pt idx="70">
                  <c:v>244.21432911334318</c:v>
                </c:pt>
                <c:pt idx="71">
                  <c:v>248.0813598482477</c:v>
                </c:pt>
                <c:pt idx="72">
                  <c:v>251.76908830266817</c:v>
                </c:pt>
                <c:pt idx="73">
                  <c:v>255.26146340689806</c:v>
                </c:pt>
                <c:pt idx="74">
                  <c:v>258.5434495380494</c:v>
                </c:pt>
                <c:pt idx="75">
                  <c:v>261.60105964028452</c:v>
                </c:pt>
                <c:pt idx="76">
                  <c:v>264.42133426524839</c:v>
                </c:pt>
                <c:pt idx="77">
                  <c:v>266.99247250900351</c:v>
                </c:pt>
                <c:pt idx="78">
                  <c:v>269.30389023046484</c:v>
                </c:pt>
                <c:pt idx="79">
                  <c:v>271.34627646405926</c:v>
                </c:pt>
                <c:pt idx="80">
                  <c:v>273.11166025285968</c:v>
                </c:pt>
                <c:pt idx="81">
                  <c:v>274.59346002453094</c:v>
                </c:pt>
                <c:pt idx="82">
                  <c:v>275.7864704515606</c:v>
                </c:pt>
                <c:pt idx="83">
                  <c:v>276.68697063457159</c:v>
                </c:pt>
                <c:pt idx="84">
                  <c:v>277.29273117048211</c:v>
                </c:pt>
                <c:pt idx="85">
                  <c:v>277.60296993733823</c:v>
                </c:pt>
                <c:pt idx="86">
                  <c:v>277.61832947428559</c:v>
                </c:pt>
                <c:pt idx="87">
                  <c:v>277.34087332083425</c:v>
                </c:pt>
                <c:pt idx="88">
                  <c:v>276.7740672468168</c:v>
                </c:pt>
                <c:pt idx="89">
                  <c:v>275.9227457649684</c:v>
                </c:pt>
                <c:pt idx="90">
                  <c:v>274.79306296280492</c:v>
                </c:pt>
                <c:pt idx="91">
                  <c:v>273.39242906559281</c:v>
                </c:pt>
                <c:pt idx="92">
                  <c:v>271.72942560599392</c:v>
                </c:pt>
                <c:pt idx="93">
                  <c:v>269.813718218973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3.03859254128997</c:v>
                </c:pt>
                <c:pt idx="32">
                  <c:v>166.98402486471838</c:v>
                </c:pt>
                <c:pt idx="33">
                  <c:v>161.04168976236392</c:v>
                </c:pt>
                <c:pt idx="34">
                  <c:v>155.54206937227687</c:v>
                </c:pt>
                <c:pt idx="35">
                  <c:v>150.70833064726182</c:v>
                </c:pt>
                <c:pt idx="36">
                  <c:v>146.82028209681866</c:v>
                </c:pt>
                <c:pt idx="37">
                  <c:v>143.75901366001142</c:v>
                </c:pt>
                <c:pt idx="38">
                  <c:v>141.54920662468291</c:v>
                </c:pt>
                <c:pt idx="39">
                  <c:v>140.19926882525738</c:v>
                </c:pt>
                <c:pt idx="40">
                  <c:v>139.70848516858877</c:v>
                </c:pt>
                <c:pt idx="41">
                  <c:v>140.06699192563744</c:v>
                </c:pt>
                <c:pt idx="42">
                  <c:v>141.25694766363989</c:v>
                </c:pt>
                <c:pt idx="43">
                  <c:v>143.25210286995448</c:v>
                </c:pt>
                <c:pt idx="44">
                  <c:v>146.02327675125403</c:v>
                </c:pt>
                <c:pt idx="45">
                  <c:v>149.53676954515609</c:v>
                </c:pt>
                <c:pt idx="46">
                  <c:v>153.75740619450289</c:v>
                </c:pt>
                <c:pt idx="47">
                  <c:v>158.65034120736001</c:v>
                </c:pt>
                <c:pt idx="48">
                  <c:v>164.17369683304128</c:v>
                </c:pt>
                <c:pt idx="49">
                  <c:v>170.26934020896221</c:v>
                </c:pt>
                <c:pt idx="50">
                  <c:v>176.87576044803939</c:v>
                </c:pt>
                <c:pt idx="51">
                  <c:v>183.93804168278709</c:v>
                </c:pt>
                <c:pt idx="52">
                  <c:v>191.40769917124422</c:v>
                </c:pt>
                <c:pt idx="53">
                  <c:v>199.24052019217865</c:v>
                </c:pt>
                <c:pt idx="54">
                  <c:v>207.39527058297745</c:v>
                </c:pt>
                <c:pt idx="55">
                  <c:v>215.83223401444766</c:v>
                </c:pt>
                <c:pt idx="56">
                  <c:v>224.51044269765936</c:v>
                </c:pt>
                <c:pt idx="57">
                  <c:v>233.38933119730794</c:v>
                </c:pt>
                <c:pt idx="58">
                  <c:v>242.43007702844918</c:v>
                </c:pt>
                <c:pt idx="59">
                  <c:v>251.59451688025331</c:v>
                </c:pt>
                <c:pt idx="60">
                  <c:v>260.84578050244545</c:v>
                </c:pt>
                <c:pt idx="61">
                  <c:v>270.14751981288464</c:v>
                </c:pt>
                <c:pt idx="62">
                  <c:v>279.46338830339874</c:v>
                </c:pt>
                <c:pt idx="63">
                  <c:v>288.75633747893738</c:v>
                </c:pt>
                <c:pt idx="64">
                  <c:v>297.9886237986791</c:v>
                </c:pt>
                <c:pt idx="65">
                  <c:v>307.1220437424347</c:v>
                </c:pt>
                <c:pt idx="66">
                  <c:v>316.11779442783524</c:v>
                </c:pt>
                <c:pt idx="67">
                  <c:v>324.93681671483631</c:v>
                </c:pt>
                <c:pt idx="68">
                  <c:v>333.54033884607531</c:v>
                </c:pt>
                <c:pt idx="69">
                  <c:v>341.8898892601174</c:v>
                </c:pt>
                <c:pt idx="70">
                  <c:v>349.94912787323489</c:v>
                </c:pt>
                <c:pt idx="71">
                  <c:v>357.68318934304403</c:v>
                </c:pt>
                <c:pt idx="72">
                  <c:v>365.05864625188491</c:v>
                </c:pt>
                <c:pt idx="73">
                  <c:v>372.0433964603447</c:v>
                </c:pt>
                <c:pt idx="74">
                  <c:v>378.60736872264738</c:v>
                </c:pt>
                <c:pt idx="75">
                  <c:v>384.72258892711767</c:v>
                </c:pt>
                <c:pt idx="76">
                  <c:v>390.36313817704541</c:v>
                </c:pt>
                <c:pt idx="77">
                  <c:v>395.50541466455547</c:v>
                </c:pt>
                <c:pt idx="78">
                  <c:v>400.12825010747821</c:v>
                </c:pt>
                <c:pt idx="79">
                  <c:v>404.21302257466692</c:v>
                </c:pt>
                <c:pt idx="80">
                  <c:v>407.74379015226793</c:v>
                </c:pt>
                <c:pt idx="81">
                  <c:v>410.7073896956104</c:v>
                </c:pt>
                <c:pt idx="82">
                  <c:v>413.09341054966978</c:v>
                </c:pt>
                <c:pt idx="83">
                  <c:v>414.89441091569165</c:v>
                </c:pt>
                <c:pt idx="84">
                  <c:v>416.10593198751275</c:v>
                </c:pt>
                <c:pt idx="85">
                  <c:v>416.72640952122515</c:v>
                </c:pt>
                <c:pt idx="86">
                  <c:v>416.75712859511981</c:v>
                </c:pt>
                <c:pt idx="87">
                  <c:v>416.20221628821702</c:v>
                </c:pt>
                <c:pt idx="88">
                  <c:v>415.068604140182</c:v>
                </c:pt>
                <c:pt idx="89">
                  <c:v>413.36596117648526</c:v>
                </c:pt>
                <c:pt idx="90">
                  <c:v>411.10659557215843</c:v>
                </c:pt>
                <c:pt idx="91">
                  <c:v>408.30532777773408</c:v>
                </c:pt>
                <c:pt idx="92">
                  <c:v>404.97932085853625</c:v>
                </c:pt>
                <c:pt idx="93">
                  <c:v>401.147906084494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260</c:v>
                </c:pt>
                <c:pt idx="1">
                  <c:v>259</c:v>
                </c:pt>
                <c:pt idx="2">
                  <c:v>281</c:v>
                </c:pt>
                <c:pt idx="3">
                  <c:v>243</c:v>
                </c:pt>
                <c:pt idx="4">
                  <c:v>243</c:v>
                </c:pt>
                <c:pt idx="5">
                  <c:v>281</c:v>
                </c:pt>
                <c:pt idx="6">
                  <c:v>250</c:v>
                </c:pt>
                <c:pt idx="7">
                  <c:v>253</c:v>
                </c:pt>
                <c:pt idx="8">
                  <c:v>244</c:v>
                </c:pt>
                <c:pt idx="9">
                  <c:v>259</c:v>
                </c:pt>
                <c:pt idx="10">
                  <c:v>245</c:v>
                </c:pt>
                <c:pt idx="11">
                  <c:v>249</c:v>
                </c:pt>
                <c:pt idx="12">
                  <c:v>270</c:v>
                </c:pt>
                <c:pt idx="13">
                  <c:v>261</c:v>
                </c:pt>
                <c:pt idx="14">
                  <c:v>253</c:v>
                </c:pt>
                <c:pt idx="15">
                  <c:v>231</c:v>
                </c:pt>
                <c:pt idx="16">
                  <c:v>230</c:v>
                </c:pt>
                <c:pt idx="17">
                  <c:v>200</c:v>
                </c:pt>
                <c:pt idx="18">
                  <c:v>213</c:v>
                </c:pt>
                <c:pt idx="19">
                  <c:v>223</c:v>
                </c:pt>
                <c:pt idx="20">
                  <c:v>203</c:v>
                </c:pt>
                <c:pt idx="21">
                  <c:v>177</c:v>
                </c:pt>
                <c:pt idx="22">
                  <c:v>157</c:v>
                </c:pt>
                <c:pt idx="23">
                  <c:v>129</c:v>
                </c:pt>
                <c:pt idx="24">
                  <c:v>126</c:v>
                </c:pt>
                <c:pt idx="25">
                  <c:v>136</c:v>
                </c:pt>
                <c:pt idx="26">
                  <c:v>161</c:v>
                </c:pt>
                <c:pt idx="27">
                  <c:v>165</c:v>
                </c:pt>
                <c:pt idx="28">
                  <c:v>145</c:v>
                </c:pt>
                <c:pt idx="29">
                  <c:v>143</c:v>
                </c:pt>
                <c:pt idx="30">
                  <c:v>135</c:v>
                </c:pt>
                <c:pt idx="31">
                  <c:v>134</c:v>
                </c:pt>
                <c:pt idx="32">
                  <c:v>130</c:v>
                </c:pt>
                <c:pt idx="33">
                  <c:v>149</c:v>
                </c:pt>
                <c:pt idx="34">
                  <c:v>141</c:v>
                </c:pt>
                <c:pt idx="35">
                  <c:v>135</c:v>
                </c:pt>
                <c:pt idx="36">
                  <c:v>128</c:v>
                </c:pt>
                <c:pt idx="37">
                  <c:v>135</c:v>
                </c:pt>
                <c:pt idx="38">
                  <c:v>105</c:v>
                </c:pt>
                <c:pt idx="39">
                  <c:v>105</c:v>
                </c:pt>
                <c:pt idx="40">
                  <c:v>115</c:v>
                </c:pt>
                <c:pt idx="41">
                  <c:v>92</c:v>
                </c:pt>
                <c:pt idx="42">
                  <c:v>90</c:v>
                </c:pt>
                <c:pt idx="43">
                  <c:v>76</c:v>
                </c:pt>
                <c:pt idx="44">
                  <c:v>71</c:v>
                </c:pt>
                <c:pt idx="45">
                  <c:v>62</c:v>
                </c:pt>
                <c:pt idx="46">
                  <c:v>63</c:v>
                </c:pt>
                <c:pt idx="47">
                  <c:v>69</c:v>
                </c:pt>
                <c:pt idx="48">
                  <c:v>73</c:v>
                </c:pt>
                <c:pt idx="49">
                  <c:v>68</c:v>
                </c:pt>
                <c:pt idx="50">
                  <c:v>65</c:v>
                </c:pt>
                <c:pt idx="51">
                  <c:v>73</c:v>
                </c:pt>
                <c:pt idx="52">
                  <c:v>65</c:v>
                </c:pt>
                <c:pt idx="53">
                  <c:v>69</c:v>
                </c:pt>
                <c:pt idx="54">
                  <c:v>78</c:v>
                </c:pt>
                <c:pt idx="55">
                  <c:v>81</c:v>
                </c:pt>
                <c:pt idx="56">
                  <c:v>83</c:v>
                </c:pt>
                <c:pt idx="57">
                  <c:v>86</c:v>
                </c:pt>
                <c:pt idx="58">
                  <c:v>90</c:v>
                </c:pt>
                <c:pt idx="59">
                  <c:v>75</c:v>
                </c:pt>
                <c:pt idx="60">
                  <c:v>68</c:v>
                </c:pt>
                <c:pt idx="61">
                  <c:v>78</c:v>
                </c:pt>
                <c:pt idx="62">
                  <c:v>89</c:v>
                </c:pt>
                <c:pt idx="63">
                  <c:v>106</c:v>
                </c:pt>
                <c:pt idx="64">
                  <c:v>94</c:v>
                </c:pt>
                <c:pt idx="65">
                  <c:v>106</c:v>
                </c:pt>
                <c:pt idx="66">
                  <c:v>93</c:v>
                </c:pt>
                <c:pt idx="67">
                  <c:v>95</c:v>
                </c:pt>
                <c:pt idx="68">
                  <c:v>118</c:v>
                </c:pt>
                <c:pt idx="69">
                  <c:v>120</c:v>
                </c:pt>
                <c:pt idx="70">
                  <c:v>123</c:v>
                </c:pt>
                <c:pt idx="71">
                  <c:v>150</c:v>
                </c:pt>
                <c:pt idx="72">
                  <c:v>151</c:v>
                </c:pt>
                <c:pt idx="73">
                  <c:v>134</c:v>
                </c:pt>
                <c:pt idx="74">
                  <c:v>114</c:v>
                </c:pt>
                <c:pt idx="75">
                  <c:v>131</c:v>
                </c:pt>
                <c:pt idx="76">
                  <c:v>131</c:v>
                </c:pt>
                <c:pt idx="77">
                  <c:v>144</c:v>
                </c:pt>
                <c:pt idx="78">
                  <c:v>146</c:v>
                </c:pt>
                <c:pt idx="79">
                  <c:v>141</c:v>
                </c:pt>
                <c:pt idx="80">
                  <c:v>118</c:v>
                </c:pt>
                <c:pt idx="81">
                  <c:v>113</c:v>
                </c:pt>
                <c:pt idx="82">
                  <c:v>138</c:v>
                </c:pt>
                <c:pt idx="83">
                  <c:v>126</c:v>
                </c:pt>
                <c:pt idx="84">
                  <c:v>117</c:v>
                </c:pt>
                <c:pt idx="85">
                  <c:v>112</c:v>
                </c:pt>
                <c:pt idx="86">
                  <c:v>111</c:v>
                </c:pt>
                <c:pt idx="87">
                  <c:v>99</c:v>
                </c:pt>
                <c:pt idx="88">
                  <c:v>106</c:v>
                </c:pt>
                <c:pt idx="89">
                  <c:v>120</c:v>
                </c:pt>
                <c:pt idx="90">
                  <c:v>118</c:v>
                </c:pt>
                <c:pt idx="91">
                  <c:v>111</c:v>
                </c:pt>
                <c:pt idx="92">
                  <c:v>111</c:v>
                </c:pt>
                <c:pt idx="93">
                  <c:v>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31.40901810382022</c:v>
                </c:pt>
                <c:pt idx="32">
                  <c:v>126.81105656393106</c:v>
                </c:pt>
                <c:pt idx="33">
                  <c:v>122.29832671808506</c:v>
                </c:pt>
                <c:pt idx="34">
                  <c:v>117.87463946518996</c:v>
                </c:pt>
                <c:pt idx="35">
                  <c:v>113.54324066291332</c:v>
                </c:pt>
                <c:pt idx="36">
                  <c:v>109.43012657572085</c:v>
                </c:pt>
                <c:pt idx="37">
                  <c:v>105.40532767873219</c:v>
                </c:pt>
                <c:pt idx="38">
                  <c:v>101.47107479452333</c:v>
                </c:pt>
                <c:pt idx="39">
                  <c:v>97.629220483155365</c:v>
                </c:pt>
                <c:pt idx="40">
                  <c:v>93.881369156799664</c:v>
                </c:pt>
                <c:pt idx="41">
                  <c:v>90.301225064436565</c:v>
                </c:pt>
                <c:pt idx="42">
                  <c:v>86.938658315628899</c:v>
                </c:pt>
                <c:pt idx="43">
                  <c:v>83.817279233496819</c:v>
                </c:pt>
                <c:pt idx="44">
                  <c:v>80.944672696002513</c:v>
                </c:pt>
                <c:pt idx="45">
                  <c:v>78.319548388514576</c:v>
                </c:pt>
                <c:pt idx="46">
                  <c:v>75.935756891340716</c:v>
                </c:pt>
                <c:pt idx="47">
                  <c:v>73.784403478199863</c:v>
                </c:pt>
                <c:pt idx="48">
                  <c:v>71.854236849537543</c:v>
                </c:pt>
                <c:pt idx="49">
                  <c:v>70.132159381032636</c:v>
                </c:pt>
                <c:pt idx="50">
                  <c:v>68.603306905460798</c:v>
                </c:pt>
                <c:pt idx="51">
                  <c:v>67.252452874465106</c:v>
                </c:pt>
                <c:pt idx="52">
                  <c:v>66.063826174624097</c:v>
                </c:pt>
                <c:pt idx="53">
                  <c:v>65.021899841203961</c:v>
                </c:pt>
                <c:pt idx="54">
                  <c:v>64.111887654770499</c:v>
                </c:pt>
                <c:pt idx="55">
                  <c:v>63.318177514771307</c:v>
                </c:pt>
                <c:pt idx="56">
                  <c:v>62.622355790731611</c:v>
                </c:pt>
                <c:pt idx="57">
                  <c:v>62.006130744303633</c:v>
                </c:pt>
                <c:pt idx="58">
                  <c:v>61.453668123835506</c:v>
                </c:pt>
                <c:pt idx="59">
                  <c:v>60.951645283151613</c:v>
                </c:pt>
                <c:pt idx="60">
                  <c:v>60.488774510352314</c:v>
                </c:pt>
                <c:pt idx="61">
                  <c:v>60.055470772077896</c:v>
                </c:pt>
                <c:pt idx="62">
                  <c:v>59.64347097253539</c:v>
                </c:pt>
                <c:pt idx="63">
                  <c:v>59.245162426602477</c:v>
                </c:pt>
                <c:pt idx="64">
                  <c:v>58.853905469713339</c:v>
                </c:pt>
                <c:pt idx="65">
                  <c:v>58.464293542692801</c:v>
                </c:pt>
                <c:pt idx="66">
                  <c:v>58.071879933315557</c:v>
                </c:pt>
                <c:pt idx="67">
                  <c:v>57.673260289494415</c:v>
                </c:pt>
                <c:pt idx="68">
                  <c:v>57.265842802505354</c:v>
                </c:pt>
                <c:pt idx="69">
                  <c:v>56.847669376312403</c:v>
                </c:pt>
                <c:pt idx="70">
                  <c:v>56.417402818119321</c:v>
                </c:pt>
                <c:pt idx="71">
                  <c:v>55.974203093527855</c:v>
                </c:pt>
                <c:pt idx="72">
                  <c:v>55.517633731251969</c:v>
                </c:pt>
                <c:pt idx="73">
                  <c:v>55.047526747985081</c:v>
                </c:pt>
                <c:pt idx="74">
                  <c:v>54.563966971046135</c:v>
                </c:pt>
                <c:pt idx="75">
                  <c:v>54.067325139541502</c:v>
                </c:pt>
                <c:pt idx="76">
                  <c:v>53.55817571745304</c:v>
                </c:pt>
                <c:pt idx="77">
                  <c:v>53.037198616499658</c:v>
                </c:pt>
                <c:pt idx="78">
                  <c:v>52.505058564936846</c:v>
                </c:pt>
                <c:pt idx="79">
                  <c:v>51.962431001988989</c:v>
                </c:pt>
                <c:pt idx="80">
                  <c:v>51.409969137961198</c:v>
                </c:pt>
                <c:pt idx="81">
                  <c:v>50.848419685703249</c:v>
                </c:pt>
                <c:pt idx="82">
                  <c:v>50.27858905711382</c:v>
                </c:pt>
                <c:pt idx="83">
                  <c:v>49.701279146342799</c:v>
                </c:pt>
                <c:pt idx="84">
                  <c:v>49.117294965209048</c:v>
                </c:pt>
                <c:pt idx="85">
                  <c:v>48.527419282329269</c:v>
                </c:pt>
                <c:pt idx="86">
                  <c:v>47.932401645323147</c:v>
                </c:pt>
                <c:pt idx="87">
                  <c:v>47.332957578294298</c:v>
                </c:pt>
                <c:pt idx="88">
                  <c:v>46.729768413401608</c:v>
                </c:pt>
                <c:pt idx="89">
                  <c:v>46.123453769607266</c:v>
                </c:pt>
                <c:pt idx="90">
                  <c:v>45.514604940778412</c:v>
                </c:pt>
                <c:pt idx="91">
                  <c:v>44.903787636534595</c:v>
                </c:pt>
                <c:pt idx="92">
                  <c:v>44.29153743914322</c:v>
                </c:pt>
                <c:pt idx="93">
                  <c:v>43.6783576630700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31.40901810382022</c:v>
                </c:pt>
                <c:pt idx="32">
                  <c:v>126.81105656393106</c:v>
                </c:pt>
                <c:pt idx="33">
                  <c:v>122.29832671808506</c:v>
                </c:pt>
                <c:pt idx="34">
                  <c:v>118.1218034073523</c:v>
                </c:pt>
                <c:pt idx="35">
                  <c:v>114.45096414371768</c:v>
                </c:pt>
                <c:pt idx="36">
                  <c:v>111.49830118656952</c:v>
                </c:pt>
                <c:pt idx="37">
                  <c:v>109.1735118229652</c:v>
                </c:pt>
                <c:pt idx="38">
                  <c:v>107.49533952367224</c:v>
                </c:pt>
                <c:pt idx="39">
                  <c:v>105.81716722437928</c:v>
                </c:pt>
                <c:pt idx="40">
                  <c:v>105.63081169097757</c:v>
                </c:pt>
                <c:pt idx="41">
                  <c:v>105.76694034365403</c:v>
                </c:pt>
                <c:pt idx="42">
                  <c:v>106.21877860938829</c:v>
                </c:pt>
                <c:pt idx="43">
                  <c:v>106.97635928193093</c:v>
                </c:pt>
                <c:pt idx="44">
                  <c:v>108.0286021180186</c:v>
                </c:pt>
                <c:pt idx="45">
                  <c:v>109.36271097599298</c:v>
                </c:pt>
                <c:pt idx="46">
                  <c:v>110.96532952980294</c:v>
                </c:pt>
                <c:pt idx="47">
                  <c:v>112.82322659265591</c:v>
                </c:pt>
                <c:pt idx="48">
                  <c:v>114.92050075776967</c:v>
                </c:pt>
                <c:pt idx="49">
                  <c:v>117.2350783874672</c:v>
                </c:pt>
                <c:pt idx="50">
                  <c:v>119.7436031738994</c:v>
                </c:pt>
                <c:pt idx="51">
                  <c:v>122.42522300506445</c:v>
                </c:pt>
                <c:pt idx="52">
                  <c:v>125.2615277325656</c:v>
                </c:pt>
                <c:pt idx="53">
                  <c:v>128.23572933761605</c:v>
                </c:pt>
                <c:pt idx="54">
                  <c:v>131.33217079035413</c:v>
                </c:pt>
                <c:pt idx="55">
                  <c:v>134.53577139766602</c:v>
                </c:pt>
                <c:pt idx="56">
                  <c:v>137.83097527447975</c:v>
                </c:pt>
                <c:pt idx="57">
                  <c:v>141.20237931347674</c:v>
                </c:pt>
                <c:pt idx="58">
                  <c:v>144.6352422232724</c:v>
                </c:pt>
                <c:pt idx="59">
                  <c:v>148.11507300758061</c:v>
                </c:pt>
                <c:pt idx="60">
                  <c:v>151.62787165832606</c:v>
                </c:pt>
                <c:pt idx="61">
                  <c:v>155.15983643997112</c:v>
                </c:pt>
                <c:pt idx="62">
                  <c:v>158.69716621463007</c:v>
                </c:pt>
                <c:pt idx="63">
                  <c:v>162.22579329287805</c:v>
                </c:pt>
                <c:pt idx="64">
                  <c:v>165.7313860693597</c:v>
                </c:pt>
                <c:pt idx="65">
                  <c:v>169.19943827988723</c:v>
                </c:pt>
                <c:pt idx="66">
                  <c:v>172.61521607637263</c:v>
                </c:pt>
                <c:pt idx="67">
                  <c:v>175.96388830708898</c:v>
                </c:pt>
                <c:pt idx="68">
                  <c:v>179.230732942429</c:v>
                </c:pt>
                <c:pt idx="69">
                  <c:v>182.40114194022473</c:v>
                </c:pt>
                <c:pt idx="70">
                  <c:v>185.46131660201715</c:v>
                </c:pt>
                <c:pt idx="71">
                  <c:v>188.39801820359679</c:v>
                </c:pt>
                <c:pt idx="72">
                  <c:v>191.19855401535958</c:v>
                </c:pt>
                <c:pt idx="73">
                  <c:v>193.85073452929649</c:v>
                </c:pt>
                <c:pt idx="74">
                  <c:v>196.34314138831579</c:v>
                </c:pt>
                <c:pt idx="75">
                  <c:v>198.66515253841894</c:v>
                </c:pt>
                <c:pt idx="76">
                  <c:v>200.80692631157996</c:v>
                </c:pt>
                <c:pt idx="77">
                  <c:v>202.75950086190991</c:v>
                </c:pt>
                <c:pt idx="78">
                  <c:v>204.51483837791821</c:v>
                </c:pt>
                <c:pt idx="79">
                  <c:v>206.06586792343049</c:v>
                </c:pt>
                <c:pt idx="80">
                  <c:v>207.40653619202678</c:v>
                </c:pt>
                <c:pt idx="81">
                  <c:v>208.53184500413656</c:v>
                </c:pt>
                <c:pt idx="82">
                  <c:v>209.43784132843155</c:v>
                </c:pt>
                <c:pt idx="83">
                  <c:v>210.12169943842827</c:v>
                </c:pt>
                <c:pt idx="84">
                  <c:v>210.58172628019221</c:v>
                </c:pt>
                <c:pt idx="85">
                  <c:v>210.81732789444237</c:v>
                </c:pt>
                <c:pt idx="86">
                  <c:v>210.82899223844299</c:v>
                </c:pt>
                <c:pt idx="87">
                  <c:v>210.61828640596687</c:v>
                </c:pt>
                <c:pt idx="88">
                  <c:v>210.18784237294491</c:v>
                </c:pt>
                <c:pt idx="89">
                  <c:v>209.54133156643977</c:v>
                </c:pt>
                <c:pt idx="90">
                  <c:v>208.68342752537649</c:v>
                </c:pt>
                <c:pt idx="91">
                  <c:v>207.61975772517485</c:v>
                </c:pt>
                <c:pt idx="92">
                  <c:v>206.35683915585625</c:v>
                </c:pt>
                <c:pt idx="93">
                  <c:v>204.902012096727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31.40901810382022</c:v>
                </c:pt>
                <c:pt idx="32">
                  <c:v>126.81105656393106</c:v>
                </c:pt>
                <c:pt idx="33">
                  <c:v>122.29832671808506</c:v>
                </c:pt>
                <c:pt idx="34">
                  <c:v>118.1218034073523</c:v>
                </c:pt>
                <c:pt idx="35">
                  <c:v>114.45096414371768</c:v>
                </c:pt>
                <c:pt idx="36">
                  <c:v>111.49830118656952</c:v>
                </c:pt>
                <c:pt idx="37">
                  <c:v>109.1735118229652</c:v>
                </c:pt>
                <c:pt idx="38">
                  <c:v>107.49533952367224</c:v>
                </c:pt>
                <c:pt idx="39">
                  <c:v>106.47016936874618</c:v>
                </c:pt>
                <c:pt idx="40">
                  <c:v>106.09745830194278</c:v>
                </c:pt>
                <c:pt idx="41">
                  <c:v>106.36971560729567</c:v>
                </c:pt>
                <c:pt idx="42">
                  <c:v>107.27339213876421</c:v>
                </c:pt>
                <c:pt idx="43">
                  <c:v>108.7885534838495</c:v>
                </c:pt>
                <c:pt idx="44">
                  <c:v>110.89303915602481</c:v>
                </c:pt>
                <c:pt idx="45">
                  <c:v>113.56125687197361</c:v>
                </c:pt>
                <c:pt idx="46">
                  <c:v>116.76649397959351</c:v>
                </c:pt>
                <c:pt idx="47">
                  <c:v>120.48228810529947</c:v>
                </c:pt>
                <c:pt idx="48">
                  <c:v>124.67683643552699</c:v>
                </c:pt>
                <c:pt idx="49">
                  <c:v>129.305991694922</c:v>
                </c:pt>
                <c:pt idx="50">
                  <c:v>134.32304126778644</c:v>
                </c:pt>
                <c:pt idx="51">
                  <c:v>139.68628093011657</c:v>
                </c:pt>
                <c:pt idx="52">
                  <c:v>145.3588903851188</c:v>
                </c:pt>
                <c:pt idx="53">
                  <c:v>151.30729359521973</c:v>
                </c:pt>
                <c:pt idx="54">
                  <c:v>157.50017650069591</c:v>
                </c:pt>
                <c:pt idx="55">
                  <c:v>163.90737771531965</c:v>
                </c:pt>
                <c:pt idx="56">
                  <c:v>170.49778546894711</c:v>
                </c:pt>
                <c:pt idx="57">
                  <c:v>177.24059354694111</c:v>
                </c:pt>
                <c:pt idx="58">
                  <c:v>184.1063193665324</c:v>
                </c:pt>
                <c:pt idx="59">
                  <c:v>191.06598093514887</c:v>
                </c:pt>
                <c:pt idx="60">
                  <c:v>198.09157823663975</c:v>
                </c:pt>
                <c:pt idx="61">
                  <c:v>205.15550779992981</c:v>
                </c:pt>
                <c:pt idx="62">
                  <c:v>212.23016734924775</c:v>
                </c:pt>
                <c:pt idx="63">
                  <c:v>219.28742150574377</c:v>
                </c:pt>
                <c:pt idx="64">
                  <c:v>226.29860705870703</c:v>
                </c:pt>
                <c:pt idx="65">
                  <c:v>233.23471147976198</c:v>
                </c:pt>
                <c:pt idx="66">
                  <c:v>240.06626707273287</c:v>
                </c:pt>
                <c:pt idx="67">
                  <c:v>246.76361153416553</c:v>
                </c:pt>
                <c:pt idx="68">
                  <c:v>253.29730080484561</c:v>
                </c:pt>
                <c:pt idx="69">
                  <c:v>259.63811880043698</c:v>
                </c:pt>
                <c:pt idx="70">
                  <c:v>265.75846812402182</c:v>
                </c:pt>
                <c:pt idx="71">
                  <c:v>271.63187132718127</c:v>
                </c:pt>
                <c:pt idx="72">
                  <c:v>277.23294295070679</c:v>
                </c:pt>
                <c:pt idx="73">
                  <c:v>282.53730397858061</c:v>
                </c:pt>
                <c:pt idx="74">
                  <c:v>287.52211769661915</c:v>
                </c:pt>
                <c:pt idx="75">
                  <c:v>292.16613999682556</c:v>
                </c:pt>
                <c:pt idx="76">
                  <c:v>296.44968754314755</c:v>
                </c:pt>
                <c:pt idx="77">
                  <c:v>300.35483664380735</c:v>
                </c:pt>
                <c:pt idx="78">
                  <c:v>303.86551167582405</c:v>
                </c:pt>
                <c:pt idx="79">
                  <c:v>306.9675707668485</c:v>
                </c:pt>
                <c:pt idx="80">
                  <c:v>309.64890730404119</c:v>
                </c:pt>
                <c:pt idx="81">
                  <c:v>311.89952492826063</c:v>
                </c:pt>
                <c:pt idx="82">
                  <c:v>313.71151757685067</c:v>
                </c:pt>
                <c:pt idx="83">
                  <c:v>315.07923379684411</c:v>
                </c:pt>
                <c:pt idx="84">
                  <c:v>315.999287480372</c:v>
                </c:pt>
                <c:pt idx="85">
                  <c:v>316.47049070887243</c:v>
                </c:pt>
                <c:pt idx="86">
                  <c:v>316.49381939687362</c:v>
                </c:pt>
                <c:pt idx="87">
                  <c:v>316.07240773192132</c:v>
                </c:pt>
                <c:pt idx="88">
                  <c:v>315.21151966587735</c:v>
                </c:pt>
                <c:pt idx="89">
                  <c:v>313.91849805286705</c:v>
                </c:pt>
                <c:pt idx="90">
                  <c:v>312.20268997074061</c:v>
                </c:pt>
                <c:pt idx="91">
                  <c:v>310.07535037033716</c:v>
                </c:pt>
                <c:pt idx="92">
                  <c:v>307.54951323169996</c:v>
                </c:pt>
                <c:pt idx="93">
                  <c:v>304.639859113442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986</c:v>
                </c:pt>
                <c:pt idx="1">
                  <c:v>1014</c:v>
                </c:pt>
                <c:pt idx="2">
                  <c:v>987</c:v>
                </c:pt>
                <c:pt idx="3">
                  <c:v>926</c:v>
                </c:pt>
                <c:pt idx="4">
                  <c:v>921</c:v>
                </c:pt>
                <c:pt idx="5">
                  <c:v>991</c:v>
                </c:pt>
                <c:pt idx="6">
                  <c:v>954</c:v>
                </c:pt>
                <c:pt idx="7">
                  <c:v>954</c:v>
                </c:pt>
                <c:pt idx="8">
                  <c:v>918</c:v>
                </c:pt>
                <c:pt idx="9">
                  <c:v>893</c:v>
                </c:pt>
                <c:pt idx="10">
                  <c:v>808</c:v>
                </c:pt>
                <c:pt idx="11">
                  <c:v>801</c:v>
                </c:pt>
                <c:pt idx="12">
                  <c:v>848</c:v>
                </c:pt>
                <c:pt idx="13">
                  <c:v>814</c:v>
                </c:pt>
                <c:pt idx="14">
                  <c:v>773</c:v>
                </c:pt>
                <c:pt idx="15">
                  <c:v>751</c:v>
                </c:pt>
                <c:pt idx="16">
                  <c:v>709</c:v>
                </c:pt>
                <c:pt idx="17">
                  <c:v>639</c:v>
                </c:pt>
                <c:pt idx="18">
                  <c:v>636</c:v>
                </c:pt>
                <c:pt idx="19">
                  <c:v>686</c:v>
                </c:pt>
                <c:pt idx="20">
                  <c:v>656</c:v>
                </c:pt>
                <c:pt idx="21">
                  <c:v>605</c:v>
                </c:pt>
                <c:pt idx="22">
                  <c:v>542</c:v>
                </c:pt>
                <c:pt idx="23">
                  <c:v>414</c:v>
                </c:pt>
                <c:pt idx="24">
                  <c:v>396</c:v>
                </c:pt>
                <c:pt idx="25">
                  <c:v>398</c:v>
                </c:pt>
                <c:pt idx="26">
                  <c:v>464</c:v>
                </c:pt>
                <c:pt idx="27">
                  <c:v>461</c:v>
                </c:pt>
                <c:pt idx="28">
                  <c:v>465</c:v>
                </c:pt>
                <c:pt idx="29">
                  <c:v>435</c:v>
                </c:pt>
                <c:pt idx="30">
                  <c:v>420</c:v>
                </c:pt>
                <c:pt idx="31">
                  <c:v>395</c:v>
                </c:pt>
                <c:pt idx="32">
                  <c:v>400</c:v>
                </c:pt>
                <c:pt idx="33">
                  <c:v>413</c:v>
                </c:pt>
                <c:pt idx="34">
                  <c:v>382</c:v>
                </c:pt>
                <c:pt idx="35">
                  <c:v>373</c:v>
                </c:pt>
                <c:pt idx="36">
                  <c:v>371</c:v>
                </c:pt>
                <c:pt idx="37">
                  <c:v>353</c:v>
                </c:pt>
                <c:pt idx="38">
                  <c:v>324</c:v>
                </c:pt>
                <c:pt idx="39">
                  <c:v>322</c:v>
                </c:pt>
                <c:pt idx="40">
                  <c:v>345</c:v>
                </c:pt>
                <c:pt idx="41">
                  <c:v>337</c:v>
                </c:pt>
                <c:pt idx="42">
                  <c:v>307</c:v>
                </c:pt>
                <c:pt idx="43">
                  <c:v>304</c:v>
                </c:pt>
                <c:pt idx="44">
                  <c:v>262</c:v>
                </c:pt>
                <c:pt idx="45">
                  <c:v>234</c:v>
                </c:pt>
                <c:pt idx="46">
                  <c:v>234</c:v>
                </c:pt>
                <c:pt idx="47">
                  <c:v>247</c:v>
                </c:pt>
                <c:pt idx="48">
                  <c:v>232</c:v>
                </c:pt>
                <c:pt idx="49">
                  <c:v>224</c:v>
                </c:pt>
                <c:pt idx="50">
                  <c:v>229</c:v>
                </c:pt>
                <c:pt idx="51">
                  <c:v>231</c:v>
                </c:pt>
                <c:pt idx="52">
                  <c:v>204</c:v>
                </c:pt>
                <c:pt idx="53">
                  <c:v>204</c:v>
                </c:pt>
                <c:pt idx="54">
                  <c:v>237</c:v>
                </c:pt>
                <c:pt idx="55">
                  <c:v>235</c:v>
                </c:pt>
                <c:pt idx="56">
                  <c:v>235</c:v>
                </c:pt>
                <c:pt idx="57">
                  <c:v>264</c:v>
                </c:pt>
                <c:pt idx="58">
                  <c:v>303</c:v>
                </c:pt>
                <c:pt idx="59">
                  <c:v>281</c:v>
                </c:pt>
                <c:pt idx="60">
                  <c:v>304</c:v>
                </c:pt>
                <c:pt idx="61">
                  <c:v>379</c:v>
                </c:pt>
                <c:pt idx="62">
                  <c:v>418</c:v>
                </c:pt>
                <c:pt idx="63">
                  <c:v>433</c:v>
                </c:pt>
                <c:pt idx="64">
                  <c:v>460</c:v>
                </c:pt>
                <c:pt idx="65">
                  <c:v>476</c:v>
                </c:pt>
                <c:pt idx="66">
                  <c:v>453</c:v>
                </c:pt>
                <c:pt idx="67">
                  <c:v>472</c:v>
                </c:pt>
                <c:pt idx="68">
                  <c:v>574</c:v>
                </c:pt>
                <c:pt idx="69">
                  <c:v>584</c:v>
                </c:pt>
                <c:pt idx="70">
                  <c:v>604</c:v>
                </c:pt>
                <c:pt idx="71">
                  <c:v>603</c:v>
                </c:pt>
                <c:pt idx="72">
                  <c:v>619</c:v>
                </c:pt>
                <c:pt idx="73">
                  <c:v>562</c:v>
                </c:pt>
                <c:pt idx="74">
                  <c:v>578</c:v>
                </c:pt>
                <c:pt idx="75">
                  <c:v>686</c:v>
                </c:pt>
                <c:pt idx="76">
                  <c:v>663</c:v>
                </c:pt>
                <c:pt idx="77">
                  <c:v>656</c:v>
                </c:pt>
                <c:pt idx="78">
                  <c:v>636</c:v>
                </c:pt>
                <c:pt idx="79">
                  <c:v>593</c:v>
                </c:pt>
                <c:pt idx="80">
                  <c:v>547</c:v>
                </c:pt>
                <c:pt idx="81">
                  <c:v>572</c:v>
                </c:pt>
                <c:pt idx="82">
                  <c:v>647</c:v>
                </c:pt>
                <c:pt idx="83">
                  <c:v>592</c:v>
                </c:pt>
                <c:pt idx="84">
                  <c:v>564</c:v>
                </c:pt>
                <c:pt idx="85">
                  <c:v>557</c:v>
                </c:pt>
                <c:pt idx="86">
                  <c:v>517</c:v>
                </c:pt>
                <c:pt idx="87">
                  <c:v>441</c:v>
                </c:pt>
                <c:pt idx="88">
                  <c:v>463</c:v>
                </c:pt>
                <c:pt idx="89">
                  <c:v>538</c:v>
                </c:pt>
                <c:pt idx="90">
                  <c:v>544</c:v>
                </c:pt>
                <c:pt idx="91">
                  <c:v>509</c:v>
                </c:pt>
                <c:pt idx="92">
                  <c:v>464</c:v>
                </c:pt>
                <c:pt idx="93">
                  <c:v>4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24.38216957077873</c:v>
                </c:pt>
                <c:pt idx="32">
                  <c:v>506.03419709003788</c:v>
                </c:pt>
                <c:pt idx="33">
                  <c:v>488.02633810594631</c:v>
                </c:pt>
                <c:pt idx="34">
                  <c:v>470.37379985059579</c:v>
                </c:pt>
                <c:pt idx="35">
                  <c:v>453.0895347827323</c:v>
                </c:pt>
                <c:pt idx="36">
                  <c:v>436.67632570578684</c:v>
                </c:pt>
                <c:pt idx="37">
                  <c:v>420.61553468745996</c:v>
                </c:pt>
                <c:pt idx="38">
                  <c:v>404.91606373158066</c:v>
                </c:pt>
                <c:pt idx="39">
                  <c:v>389.58530540129362</c:v>
                </c:pt>
                <c:pt idx="40">
                  <c:v>374.6296620360078</c:v>
                </c:pt>
                <c:pt idx="41">
                  <c:v>360.34324734682605</c:v>
                </c:pt>
                <c:pt idx="42">
                  <c:v>346.92506591217563</c:v>
                </c:pt>
                <c:pt idx="43">
                  <c:v>334.46933373519437</c:v>
                </c:pt>
                <c:pt idx="44">
                  <c:v>323.00631795294134</c:v>
                </c:pt>
                <c:pt idx="45">
                  <c:v>312.53086961905336</c:v>
                </c:pt>
                <c:pt idx="46">
                  <c:v>303.01844973243021</c:v>
                </c:pt>
                <c:pt idx="47">
                  <c:v>294.43356426128992</c:v>
                </c:pt>
                <c:pt idx="48">
                  <c:v>286.73131536714311</c:v>
                </c:pt>
                <c:pt idx="49">
                  <c:v>279.8594375300367</c:v>
                </c:pt>
                <c:pt idx="50">
                  <c:v>273.75861591473</c:v>
                </c:pt>
                <c:pt idx="51">
                  <c:v>268.36808961928728</c:v>
                </c:pt>
                <c:pt idx="52">
                  <c:v>263.62492467774615</c:v>
                </c:pt>
                <c:pt idx="53">
                  <c:v>259.46716138923188</c:v>
                </c:pt>
                <c:pt idx="54">
                  <c:v>255.8357959658876</c:v>
                </c:pt>
                <c:pt idx="55">
                  <c:v>252.66852897592901</c:v>
                </c:pt>
                <c:pt idx="56">
                  <c:v>249.89188160003778</c:v>
                </c:pt>
                <c:pt idx="57">
                  <c:v>247.43286142431086</c:v>
                </c:pt>
                <c:pt idx="58">
                  <c:v>245.22828253232831</c:v>
                </c:pt>
                <c:pt idx="59">
                  <c:v>243.22498146387406</c:v>
                </c:pt>
                <c:pt idx="60">
                  <c:v>241.37791507852421</c:v>
                </c:pt>
                <c:pt idx="61">
                  <c:v>239.6488347030818</c:v>
                </c:pt>
                <c:pt idx="62">
                  <c:v>238.00476680070895</c:v>
                </c:pt>
                <c:pt idx="63">
                  <c:v>236.41533327104156</c:v>
                </c:pt>
                <c:pt idx="64">
                  <c:v>234.85403881139425</c:v>
                </c:pt>
                <c:pt idx="65">
                  <c:v>233.29930877437144</c:v>
                </c:pt>
                <c:pt idx="66">
                  <c:v>231.73339874153211</c:v>
                </c:pt>
                <c:pt idx="67">
                  <c:v>230.1427237888031</c:v>
                </c:pt>
                <c:pt idx="68">
                  <c:v>228.51694141228759</c:v>
                </c:pt>
                <c:pt idx="69">
                  <c:v>226.84823791196416</c:v>
                </c:pt>
                <c:pt idx="70">
                  <c:v>225.13127727612115</c:v>
                </c:pt>
                <c:pt idx="71">
                  <c:v>223.36270738276096</c:v>
                </c:pt>
                <c:pt idx="72">
                  <c:v>221.54078651154171</c:v>
                </c:pt>
                <c:pt idx="73">
                  <c:v>219.66484433213131</c:v>
                </c:pt>
                <c:pt idx="74">
                  <c:v>217.73521934438446</c:v>
                </c:pt>
                <c:pt idx="75">
                  <c:v>215.75339096713986</c:v>
                </c:pt>
                <c:pt idx="76">
                  <c:v>213.72165157479827</c:v>
                </c:pt>
                <c:pt idx="77">
                  <c:v>211.64271432652822</c:v>
                </c:pt>
                <c:pt idx="78">
                  <c:v>209.51923179252469</c:v>
                </c:pt>
                <c:pt idx="79">
                  <c:v>207.35389928465452</c:v>
                </c:pt>
                <c:pt idx="80">
                  <c:v>205.14932341121539</c:v>
                </c:pt>
                <c:pt idx="81">
                  <c:v>202.90848389848375</c:v>
                </c:pt>
                <c:pt idx="82">
                  <c:v>200.63459869928434</c:v>
                </c:pt>
                <c:pt idx="83">
                  <c:v>198.33086773855493</c:v>
                </c:pt>
                <c:pt idx="84">
                  <c:v>196.00050338216053</c:v>
                </c:pt>
                <c:pt idx="85">
                  <c:v>193.64662923540172</c:v>
                </c:pt>
                <c:pt idx="86">
                  <c:v>191.27223633658528</c:v>
                </c:pt>
                <c:pt idx="87">
                  <c:v>188.88017995460567</c:v>
                </c:pt>
                <c:pt idx="88">
                  <c:v>186.47317891683733</c:v>
                </c:pt>
                <c:pt idx="89">
                  <c:v>184.05370578673433</c:v>
                </c:pt>
                <c:pt idx="90">
                  <c:v>181.62412009764822</c:v>
                </c:pt>
                <c:pt idx="91">
                  <c:v>179.18667929006457</c:v>
                </c:pt>
                <c:pt idx="92">
                  <c:v>176.74352058253524</c:v>
                </c:pt>
                <c:pt idx="93">
                  <c:v>174.296652430304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24.38216957077873</c:v>
                </c:pt>
                <c:pt idx="32">
                  <c:v>506.03419709003788</c:v>
                </c:pt>
                <c:pt idx="33">
                  <c:v>488.02633810594631</c:v>
                </c:pt>
                <c:pt idx="34">
                  <c:v>471.36009718468256</c:v>
                </c:pt>
                <c:pt idx="35">
                  <c:v>456.7117672223543</c:v>
                </c:pt>
                <c:pt idx="36">
                  <c:v>444.92928965861995</c:v>
                </c:pt>
                <c:pt idx="37">
                  <c:v>435.65231530881721</c:v>
                </c:pt>
                <c:pt idx="38">
                  <c:v>428.95563920610425</c:v>
                </c:pt>
                <c:pt idx="39">
                  <c:v>422.25896310339135</c:v>
                </c:pt>
                <c:pt idx="40">
                  <c:v>421.5153191714391</c:v>
                </c:pt>
                <c:pt idx="41">
                  <c:v>422.05853484461937</c:v>
                </c:pt>
                <c:pt idx="42">
                  <c:v>423.86157647372312</c:v>
                </c:pt>
                <c:pt idx="43">
                  <c:v>426.88467034068236</c:v>
                </c:pt>
                <c:pt idx="44">
                  <c:v>431.08360119995587</c:v>
                </c:pt>
                <c:pt idx="45">
                  <c:v>436.4073065854987</c:v>
                </c:pt>
                <c:pt idx="46">
                  <c:v>442.80248863896554</c:v>
                </c:pt>
                <c:pt idx="47">
                  <c:v>450.2163488649685</c:v>
                </c:pt>
                <c:pt idx="48">
                  <c:v>458.58543336735949</c:v>
                </c:pt>
                <c:pt idx="49">
                  <c:v>467.82165822174403</c:v>
                </c:pt>
                <c:pt idx="50">
                  <c:v>477.83182106225883</c:v>
                </c:pt>
                <c:pt idx="51">
                  <c:v>488.53271241143079</c:v>
                </c:pt>
                <c:pt idx="52">
                  <c:v>499.85086734502801</c:v>
                </c:pt>
                <c:pt idx="53">
                  <c:v>511.71929397892211</c:v>
                </c:pt>
                <c:pt idx="54">
                  <c:v>524.07551359280626</c:v>
                </c:pt>
                <c:pt idx="55">
                  <c:v>536.85934731396878</c:v>
                </c:pt>
                <c:pt idx="56">
                  <c:v>550.00872003613961</c:v>
                </c:pt>
                <c:pt idx="57">
                  <c:v>563.46216630625929</c:v>
                </c:pt>
                <c:pt idx="58">
                  <c:v>577.16086161996679</c:v>
                </c:pt>
                <c:pt idx="59">
                  <c:v>591.04698026498295</c:v>
                </c:pt>
                <c:pt idx="60">
                  <c:v>605.06465579686983</c:v>
                </c:pt>
                <c:pt idx="61">
                  <c:v>619.15881296942666</c:v>
                </c:pt>
                <c:pt idx="62">
                  <c:v>633.27437892135777</c:v>
                </c:pt>
                <c:pt idx="63">
                  <c:v>647.35521712864124</c:v>
                </c:pt>
                <c:pt idx="64">
                  <c:v>661.3441379218151</c:v>
                </c:pt>
                <c:pt idx="65">
                  <c:v>675.1832546626797</c:v>
                </c:pt>
                <c:pt idx="66">
                  <c:v>688.81377254903657</c:v>
                </c:pt>
                <c:pt idx="67">
                  <c:v>702.17650849260122</c:v>
                </c:pt>
                <c:pt idx="68">
                  <c:v>715.21271485232637</c:v>
                </c:pt>
                <c:pt idx="69">
                  <c:v>727.86409884925547</c:v>
                </c:pt>
                <c:pt idx="70">
                  <c:v>740.07559735652251</c:v>
                </c:pt>
                <c:pt idx="71">
                  <c:v>751.79438180099407</c:v>
                </c:pt>
                <c:pt idx="72">
                  <c:v>762.96980237808566</c:v>
                </c:pt>
                <c:pt idx="73">
                  <c:v>773.55321736786061</c:v>
                </c:pt>
                <c:pt idx="74">
                  <c:v>783.49906229574094</c:v>
                </c:pt>
                <c:pt idx="75">
                  <c:v>792.76495030120998</c:v>
                </c:pt>
                <c:pt idx="76">
                  <c:v>801.3116086212093</c:v>
                </c:pt>
                <c:pt idx="77">
                  <c:v>809.10327538598017</c:v>
                </c:pt>
                <c:pt idx="78">
                  <c:v>816.10787604623465</c:v>
                </c:pt>
                <c:pt idx="79">
                  <c:v>822.2971943280404</c:v>
                </c:pt>
                <c:pt idx="80">
                  <c:v>827.64707476627473</c:v>
                </c:pt>
                <c:pt idx="81">
                  <c:v>832.13757233520892</c:v>
                </c:pt>
                <c:pt idx="82">
                  <c:v>835.75291262929454</c:v>
                </c:pt>
                <c:pt idx="83">
                  <c:v>838.48181970563644</c:v>
                </c:pt>
                <c:pt idx="84">
                  <c:v>840.31753750359144</c:v>
                </c:pt>
                <c:pt idx="85">
                  <c:v>841.2576958535858</c:v>
                </c:pt>
                <c:pt idx="86">
                  <c:v>841.30424192859596</c:v>
                </c:pt>
                <c:pt idx="87">
                  <c:v>840.4634291505281</c:v>
                </c:pt>
                <c:pt idx="88">
                  <c:v>838.74576030883168</c:v>
                </c:pt>
                <c:pt idx="89">
                  <c:v>836.16588607905635</c:v>
                </c:pt>
                <c:pt idx="90">
                  <c:v>832.74245602206531</c:v>
                </c:pt>
                <c:pt idx="91">
                  <c:v>828.49792634225298</c:v>
                </c:pt>
                <c:pt idx="92">
                  <c:v>823.45830281468579</c:v>
                </c:pt>
                <c:pt idx="93">
                  <c:v>817.652876515758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24.38216957077873</c:v>
                </c:pt>
                <c:pt idx="32">
                  <c:v>506.03419709003788</c:v>
                </c:pt>
                <c:pt idx="33">
                  <c:v>488.02633810594631</c:v>
                </c:pt>
                <c:pt idx="34">
                  <c:v>471.36009718468256</c:v>
                </c:pt>
                <c:pt idx="35">
                  <c:v>456.7117672223543</c:v>
                </c:pt>
                <c:pt idx="36">
                  <c:v>444.92928965861995</c:v>
                </c:pt>
                <c:pt idx="37">
                  <c:v>435.65231530881721</c:v>
                </c:pt>
                <c:pt idx="38">
                  <c:v>428.95563920610425</c:v>
                </c:pt>
                <c:pt idx="39">
                  <c:v>424.86474074436694</c:v>
                </c:pt>
                <c:pt idx="40">
                  <c:v>423.3774528804625</c:v>
                </c:pt>
                <c:pt idx="41">
                  <c:v>424.46388422682298</c:v>
                </c:pt>
                <c:pt idx="42">
                  <c:v>428.06996748503047</c:v>
                </c:pt>
                <c:pt idx="43">
                  <c:v>434.11615521894902</c:v>
                </c:pt>
                <c:pt idx="44">
                  <c:v>442.51401693749591</c:v>
                </c:pt>
                <c:pt idx="45">
                  <c:v>453.1614277085817</c:v>
                </c:pt>
                <c:pt idx="46">
                  <c:v>465.95179181551526</c:v>
                </c:pt>
                <c:pt idx="47">
                  <c:v>480.7795122675214</c:v>
                </c:pt>
                <c:pt idx="48">
                  <c:v>497.51768127230332</c:v>
                </c:pt>
                <c:pt idx="49">
                  <c:v>515.99013098107241</c:v>
                </c:pt>
                <c:pt idx="50">
                  <c:v>536.010456662102</c:v>
                </c:pt>
                <c:pt idx="51">
                  <c:v>557.41223936044605</c:v>
                </c:pt>
                <c:pt idx="52">
                  <c:v>580.04854922764014</c:v>
                </c:pt>
                <c:pt idx="53">
                  <c:v>603.78540249542834</c:v>
                </c:pt>
                <c:pt idx="54">
                  <c:v>628.49784172319676</c:v>
                </c:pt>
                <c:pt idx="55">
                  <c:v>654.0655091655218</c:v>
                </c:pt>
                <c:pt idx="56">
                  <c:v>680.36425460986334</c:v>
                </c:pt>
                <c:pt idx="57">
                  <c:v>707.27114715010271</c:v>
                </c:pt>
                <c:pt idx="58">
                  <c:v>734.6685377775176</c:v>
                </c:pt>
                <c:pt idx="59">
                  <c:v>762.44077506755013</c:v>
                </c:pt>
                <c:pt idx="60">
                  <c:v>790.47612613132389</c:v>
                </c:pt>
                <c:pt idx="61">
                  <c:v>818.66444047643745</c:v>
                </c:pt>
                <c:pt idx="62">
                  <c:v>846.89557238029965</c:v>
                </c:pt>
                <c:pt idx="63">
                  <c:v>875.05724879486672</c:v>
                </c:pt>
                <c:pt idx="64">
                  <c:v>903.03509038121445</c:v>
                </c:pt>
                <c:pt idx="65">
                  <c:v>930.7133238629433</c:v>
                </c:pt>
                <c:pt idx="66">
                  <c:v>957.97435963565727</c:v>
                </c:pt>
                <c:pt idx="67">
                  <c:v>984.69983152278644</c:v>
                </c:pt>
                <c:pt idx="68">
                  <c:v>1010.7722442422369</c:v>
                </c:pt>
                <c:pt idx="69">
                  <c:v>1036.0750122360948</c:v>
                </c:pt>
                <c:pt idx="70">
                  <c:v>1060.4980092506291</c:v>
                </c:pt>
                <c:pt idx="71">
                  <c:v>1083.9355781395725</c:v>
                </c:pt>
                <c:pt idx="72">
                  <c:v>1106.2864192937554</c:v>
                </c:pt>
                <c:pt idx="73">
                  <c:v>1127.4532492733053</c:v>
                </c:pt>
                <c:pt idx="74">
                  <c:v>1147.344939129066</c:v>
                </c:pt>
                <c:pt idx="75">
                  <c:v>1165.8767151400043</c:v>
                </c:pt>
                <c:pt idx="76">
                  <c:v>1182.970031780003</c:v>
                </c:pt>
                <c:pt idx="77">
                  <c:v>1198.5533653095442</c:v>
                </c:pt>
                <c:pt idx="78">
                  <c:v>1212.5625666300537</c:v>
                </c:pt>
                <c:pt idx="79">
                  <c:v>1224.9412031936645</c:v>
                </c:pt>
                <c:pt idx="80">
                  <c:v>1235.6409640701336</c:v>
                </c:pt>
                <c:pt idx="81">
                  <c:v>1244.621959208002</c:v>
                </c:pt>
                <c:pt idx="82">
                  <c:v>1251.8526397961732</c:v>
                </c:pt>
                <c:pt idx="83">
                  <c:v>1257.3104539488568</c:v>
                </c:pt>
                <c:pt idx="84">
                  <c:v>1260.9818895447668</c:v>
                </c:pt>
                <c:pt idx="85">
                  <c:v>1262.8622062447562</c:v>
                </c:pt>
                <c:pt idx="86">
                  <c:v>1262.955298394776</c:v>
                </c:pt>
                <c:pt idx="87">
                  <c:v>1261.2736728386403</c:v>
                </c:pt>
                <c:pt idx="88">
                  <c:v>1257.8383351552473</c:v>
                </c:pt>
                <c:pt idx="89">
                  <c:v>1252.6785866956966</c:v>
                </c:pt>
                <c:pt idx="90">
                  <c:v>1245.8317265817147</c:v>
                </c:pt>
                <c:pt idx="91">
                  <c:v>1237.3426672220899</c:v>
                </c:pt>
                <c:pt idx="92">
                  <c:v>1227.2634201669555</c:v>
                </c:pt>
                <c:pt idx="93">
                  <c:v>1215.65256756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465</c:v>
                </c:pt>
                <c:pt idx="1">
                  <c:v>478</c:v>
                </c:pt>
                <c:pt idx="2">
                  <c:v>476</c:v>
                </c:pt>
                <c:pt idx="3">
                  <c:v>433</c:v>
                </c:pt>
                <c:pt idx="4">
                  <c:v>429</c:v>
                </c:pt>
                <c:pt idx="5">
                  <c:v>457</c:v>
                </c:pt>
                <c:pt idx="6">
                  <c:v>440</c:v>
                </c:pt>
                <c:pt idx="7">
                  <c:v>427</c:v>
                </c:pt>
                <c:pt idx="8">
                  <c:v>419</c:v>
                </c:pt>
                <c:pt idx="9">
                  <c:v>421</c:v>
                </c:pt>
                <c:pt idx="10">
                  <c:v>399</c:v>
                </c:pt>
                <c:pt idx="11">
                  <c:v>408</c:v>
                </c:pt>
                <c:pt idx="12">
                  <c:v>452</c:v>
                </c:pt>
                <c:pt idx="13">
                  <c:v>432</c:v>
                </c:pt>
                <c:pt idx="14">
                  <c:v>414</c:v>
                </c:pt>
                <c:pt idx="15">
                  <c:v>380</c:v>
                </c:pt>
                <c:pt idx="16">
                  <c:v>379</c:v>
                </c:pt>
                <c:pt idx="17">
                  <c:v>331</c:v>
                </c:pt>
                <c:pt idx="18">
                  <c:v>341</c:v>
                </c:pt>
                <c:pt idx="19">
                  <c:v>359</c:v>
                </c:pt>
                <c:pt idx="20">
                  <c:v>335</c:v>
                </c:pt>
                <c:pt idx="21">
                  <c:v>320</c:v>
                </c:pt>
                <c:pt idx="22">
                  <c:v>291</c:v>
                </c:pt>
                <c:pt idx="23">
                  <c:v>251</c:v>
                </c:pt>
                <c:pt idx="24">
                  <c:v>240</c:v>
                </c:pt>
                <c:pt idx="25">
                  <c:v>238</c:v>
                </c:pt>
                <c:pt idx="26">
                  <c:v>258</c:v>
                </c:pt>
                <c:pt idx="27">
                  <c:v>245</c:v>
                </c:pt>
                <c:pt idx="28">
                  <c:v>223</c:v>
                </c:pt>
                <c:pt idx="29">
                  <c:v>195</c:v>
                </c:pt>
                <c:pt idx="30">
                  <c:v>184</c:v>
                </c:pt>
                <c:pt idx="31">
                  <c:v>178</c:v>
                </c:pt>
                <c:pt idx="32">
                  <c:v>182</c:v>
                </c:pt>
                <c:pt idx="33">
                  <c:v>191</c:v>
                </c:pt>
                <c:pt idx="34">
                  <c:v>180</c:v>
                </c:pt>
                <c:pt idx="35">
                  <c:v>164</c:v>
                </c:pt>
                <c:pt idx="36">
                  <c:v>147</c:v>
                </c:pt>
                <c:pt idx="37">
                  <c:v>143</c:v>
                </c:pt>
                <c:pt idx="38">
                  <c:v>130</c:v>
                </c:pt>
                <c:pt idx="39">
                  <c:v>129</c:v>
                </c:pt>
                <c:pt idx="40">
                  <c:v>137</c:v>
                </c:pt>
                <c:pt idx="41">
                  <c:v>139</c:v>
                </c:pt>
                <c:pt idx="42">
                  <c:v>130</c:v>
                </c:pt>
                <c:pt idx="43">
                  <c:v>119</c:v>
                </c:pt>
                <c:pt idx="44">
                  <c:v>118</c:v>
                </c:pt>
                <c:pt idx="45">
                  <c:v>112</c:v>
                </c:pt>
                <c:pt idx="46">
                  <c:v>107</c:v>
                </c:pt>
                <c:pt idx="47">
                  <c:v>115</c:v>
                </c:pt>
                <c:pt idx="48">
                  <c:v>103</c:v>
                </c:pt>
                <c:pt idx="49">
                  <c:v>101</c:v>
                </c:pt>
                <c:pt idx="50">
                  <c:v>94</c:v>
                </c:pt>
                <c:pt idx="51">
                  <c:v>94</c:v>
                </c:pt>
                <c:pt idx="52">
                  <c:v>87</c:v>
                </c:pt>
                <c:pt idx="53">
                  <c:v>92</c:v>
                </c:pt>
                <c:pt idx="54">
                  <c:v>105</c:v>
                </c:pt>
                <c:pt idx="55">
                  <c:v>105</c:v>
                </c:pt>
                <c:pt idx="56">
                  <c:v>103</c:v>
                </c:pt>
                <c:pt idx="57">
                  <c:v>111</c:v>
                </c:pt>
                <c:pt idx="58">
                  <c:v>119</c:v>
                </c:pt>
                <c:pt idx="59">
                  <c:v>117</c:v>
                </c:pt>
                <c:pt idx="60">
                  <c:v>129</c:v>
                </c:pt>
                <c:pt idx="61">
                  <c:v>149</c:v>
                </c:pt>
                <c:pt idx="62">
                  <c:v>153</c:v>
                </c:pt>
                <c:pt idx="63">
                  <c:v>177</c:v>
                </c:pt>
                <c:pt idx="64">
                  <c:v>169</c:v>
                </c:pt>
                <c:pt idx="65">
                  <c:v>200</c:v>
                </c:pt>
                <c:pt idx="66">
                  <c:v>198</c:v>
                </c:pt>
                <c:pt idx="67">
                  <c:v>195</c:v>
                </c:pt>
                <c:pt idx="68">
                  <c:v>239</c:v>
                </c:pt>
                <c:pt idx="69">
                  <c:v>247</c:v>
                </c:pt>
                <c:pt idx="70">
                  <c:v>242</c:v>
                </c:pt>
                <c:pt idx="71">
                  <c:v>231</c:v>
                </c:pt>
                <c:pt idx="72">
                  <c:v>227</c:v>
                </c:pt>
                <c:pt idx="73">
                  <c:v>215</c:v>
                </c:pt>
                <c:pt idx="74">
                  <c:v>221</c:v>
                </c:pt>
                <c:pt idx="75">
                  <c:v>246</c:v>
                </c:pt>
                <c:pt idx="76">
                  <c:v>251</c:v>
                </c:pt>
                <c:pt idx="77">
                  <c:v>251</c:v>
                </c:pt>
                <c:pt idx="78">
                  <c:v>241</c:v>
                </c:pt>
                <c:pt idx="79">
                  <c:v>224</c:v>
                </c:pt>
                <c:pt idx="80">
                  <c:v>217</c:v>
                </c:pt>
                <c:pt idx="81">
                  <c:v>219</c:v>
                </c:pt>
                <c:pt idx="82">
                  <c:v>240</c:v>
                </c:pt>
                <c:pt idx="83">
                  <c:v>216</c:v>
                </c:pt>
                <c:pt idx="84">
                  <c:v>197</c:v>
                </c:pt>
                <c:pt idx="85">
                  <c:v>181</c:v>
                </c:pt>
                <c:pt idx="86">
                  <c:v>167</c:v>
                </c:pt>
                <c:pt idx="87">
                  <c:v>150</c:v>
                </c:pt>
                <c:pt idx="88">
                  <c:v>151</c:v>
                </c:pt>
                <c:pt idx="89">
                  <c:v>164</c:v>
                </c:pt>
                <c:pt idx="90">
                  <c:v>154</c:v>
                </c:pt>
                <c:pt idx="91">
                  <c:v>145</c:v>
                </c:pt>
                <c:pt idx="92">
                  <c:v>131</c:v>
                </c:pt>
                <c:pt idx="93">
                  <c:v>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30.71812338838663</c:v>
                </c:pt>
                <c:pt idx="32">
                  <c:v>222.64536648629118</c:v>
                </c:pt>
                <c:pt idx="33">
                  <c:v>214.72225301648521</c:v>
                </c:pt>
                <c:pt idx="34">
                  <c:v>206.95547387018084</c:v>
                </c:pt>
                <c:pt idx="35">
                  <c:v>199.35072788145087</c:v>
                </c:pt>
                <c:pt idx="36">
                  <c:v>192.12922986576945</c:v>
                </c:pt>
                <c:pt idx="37">
                  <c:v>185.06278905426262</c:v>
                </c:pt>
                <c:pt idx="38">
                  <c:v>178.1553221583234</c:v>
                </c:pt>
                <c:pt idx="39">
                  <c:v>171.41008176431859</c:v>
                </c:pt>
                <c:pt idx="40">
                  <c:v>164.82988477911391</c:v>
                </c:pt>
                <c:pt idx="41">
                  <c:v>158.5441356093161</c:v>
                </c:pt>
                <c:pt idx="42">
                  <c:v>152.64039246255456</c:v>
                </c:pt>
                <c:pt idx="43">
                  <c:v>147.16010857789519</c:v>
                </c:pt>
                <c:pt idx="44">
                  <c:v>142.11660091664564</c:v>
                </c:pt>
                <c:pt idx="45">
                  <c:v>137.50760404090346</c:v>
                </c:pt>
                <c:pt idx="46">
                  <c:v>133.32232125960581</c:v>
                </c:pt>
                <c:pt idx="47">
                  <c:v>129.54513587775548</c:v>
                </c:pt>
                <c:pt idx="48">
                  <c:v>126.15629370529491</c:v>
                </c:pt>
                <c:pt idx="49">
                  <c:v>123.1327989132634</c:v>
                </c:pt>
                <c:pt idx="50">
                  <c:v>120.44855410882431</c:v>
                </c:pt>
                <c:pt idx="51">
                  <c:v>118.07682565745782</c:v>
                </c:pt>
                <c:pt idx="52">
                  <c:v>115.98992381804231</c:v>
                </c:pt>
                <c:pt idx="53">
                  <c:v>114.16058750745735</c:v>
                </c:pt>
                <c:pt idx="54">
                  <c:v>112.56285618776499</c:v>
                </c:pt>
                <c:pt idx="55">
                  <c:v>111.16931930074352</c:v>
                </c:pt>
                <c:pt idx="56">
                  <c:v>109.94764757151351</c:v>
                </c:pt>
                <c:pt idx="57">
                  <c:v>108.86572573427355</c:v>
                </c:pt>
                <c:pt idx="58">
                  <c:v>107.89575319452035</c:v>
                </c:pt>
                <c:pt idx="59">
                  <c:v>107.01433904675474</c:v>
                </c:pt>
                <c:pt idx="60">
                  <c:v>106.20166517084758</c:v>
                </c:pt>
                <c:pt idx="61">
                  <c:v>105.44090288227417</c:v>
                </c:pt>
                <c:pt idx="62">
                  <c:v>104.71754445559648</c:v>
                </c:pt>
                <c:pt idx="63">
                  <c:v>104.01822410777535</c:v>
                </c:pt>
                <c:pt idx="64">
                  <c:v>103.33128441247381</c:v>
                </c:pt>
                <c:pt idx="65">
                  <c:v>102.64723293755225</c:v>
                </c:pt>
                <c:pt idx="66">
                  <c:v>101.95826247834029</c:v>
                </c:pt>
                <c:pt idx="67">
                  <c:v>101.25839592811997</c:v>
                </c:pt>
                <c:pt idx="68">
                  <c:v>100.54308278302467</c:v>
                </c:pt>
                <c:pt idx="69">
                  <c:v>99.80888516451796</c:v>
                </c:pt>
                <c:pt idx="70">
                  <c:v>99.053455329522464</c:v>
                </c:pt>
                <c:pt idx="71">
                  <c:v>98.275318408484026</c:v>
                </c:pt>
                <c:pt idx="72">
                  <c:v>97.473708077770638</c:v>
                </c:pt>
                <c:pt idx="73">
                  <c:v>96.648329404859297</c:v>
                </c:pt>
                <c:pt idx="74">
                  <c:v>95.799331323210765</c:v>
                </c:pt>
                <c:pt idx="75">
                  <c:v>94.927364748813332</c:v>
                </c:pt>
                <c:pt idx="76">
                  <c:v>94.033438282551145</c:v>
                </c:pt>
                <c:pt idx="77">
                  <c:v>93.118745662556648</c:v>
                </c:pt>
                <c:pt idx="78">
                  <c:v>92.184453968973088</c:v>
                </c:pt>
                <c:pt idx="79">
                  <c:v>91.23174908746158</c:v>
                </c:pt>
                <c:pt idx="80">
                  <c:v>90.261777875809742</c:v>
                </c:pt>
                <c:pt idx="81">
                  <c:v>89.275851356578215</c:v>
                </c:pt>
                <c:pt idx="82">
                  <c:v>88.275385367451747</c:v>
                </c:pt>
                <c:pt idx="83">
                  <c:v>87.261787814189645</c:v>
                </c:pt>
                <c:pt idx="84">
                  <c:v>86.236472076321235</c:v>
                </c:pt>
                <c:pt idx="85">
                  <c:v>85.200812480425427</c:v>
                </c:pt>
                <c:pt idx="86">
                  <c:v>84.156125026139875</c:v>
                </c:pt>
                <c:pt idx="87">
                  <c:v>83.103665977157931</c:v>
                </c:pt>
                <c:pt idx="88">
                  <c:v>82.04463156551428</c:v>
                </c:pt>
                <c:pt idx="89">
                  <c:v>80.980109671829553</c:v>
                </c:pt>
                <c:pt idx="90">
                  <c:v>79.911138445641484</c:v>
                </c:pt>
                <c:pt idx="91">
                  <c:v>78.83871111757982</c:v>
                </c:pt>
                <c:pt idx="92">
                  <c:v>77.763768022923202</c:v>
                </c:pt>
                <c:pt idx="93">
                  <c:v>76.6871928435581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30.71812338838663</c:v>
                </c:pt>
                <c:pt idx="32">
                  <c:v>222.64536648629118</c:v>
                </c:pt>
                <c:pt idx="33">
                  <c:v>214.72225301648521</c:v>
                </c:pt>
                <c:pt idx="34">
                  <c:v>207.3894258297025</c:v>
                </c:pt>
                <c:pt idx="35">
                  <c:v>200.94444086301576</c:v>
                </c:pt>
                <c:pt idx="36">
                  <c:v>195.76037612909153</c:v>
                </c:pt>
                <c:pt idx="37">
                  <c:v>191.67868488001523</c:v>
                </c:pt>
                <c:pt idx="38">
                  <c:v>188.73227549957721</c:v>
                </c:pt>
                <c:pt idx="39">
                  <c:v>185.7858661191392</c:v>
                </c:pt>
                <c:pt idx="40">
                  <c:v>185.45867701469345</c:v>
                </c:pt>
                <c:pt idx="41">
                  <c:v>185.69768151939257</c:v>
                </c:pt>
                <c:pt idx="42">
                  <c:v>186.49098534472753</c:v>
                </c:pt>
                <c:pt idx="43">
                  <c:v>187.8210888156039</c:v>
                </c:pt>
                <c:pt idx="44">
                  <c:v>189.66853806980365</c:v>
                </c:pt>
                <c:pt idx="45">
                  <c:v>192.01086659907165</c:v>
                </c:pt>
                <c:pt idx="46">
                  <c:v>194.82462436530287</c:v>
                </c:pt>
                <c:pt idx="47">
                  <c:v>198.08658104054092</c:v>
                </c:pt>
                <c:pt idx="48">
                  <c:v>201.76881812432842</c:v>
                </c:pt>
                <c:pt idx="49">
                  <c:v>205.83258037494241</c:v>
                </c:pt>
                <c:pt idx="50">
                  <c:v>210.23686053432718</c:v>
                </c:pt>
                <c:pt idx="51">
                  <c:v>214.94504802415895</c:v>
                </c:pt>
                <c:pt idx="52">
                  <c:v>219.92481968313044</c:v>
                </c:pt>
                <c:pt idx="53">
                  <c:v>225.14670036375338</c:v>
                </c:pt>
                <c:pt idx="54">
                  <c:v>230.58320062428587</c:v>
                </c:pt>
                <c:pt idx="55">
                  <c:v>236.20784291193272</c:v>
                </c:pt>
                <c:pt idx="56">
                  <c:v>241.99331536740721</c:v>
                </c:pt>
                <c:pt idx="57">
                  <c:v>247.91257436717291</c:v>
                </c:pt>
                <c:pt idx="58">
                  <c:v>253.9397382546004</c:v>
                </c:pt>
                <c:pt idx="59">
                  <c:v>260.04936482246978</c:v>
                </c:pt>
                <c:pt idx="60">
                  <c:v>266.21687390393123</c:v>
                </c:pt>
                <c:pt idx="61">
                  <c:v>272.41803344422408</c:v>
                </c:pt>
                <c:pt idx="62">
                  <c:v>278.62861243790013</c:v>
                </c:pt>
                <c:pt idx="63">
                  <c:v>284.82391188825915</c:v>
                </c:pt>
                <c:pt idx="64">
                  <c:v>290.97876943475364</c:v>
                </c:pt>
                <c:pt idx="65">
                  <c:v>297.06771606392414</c:v>
                </c:pt>
                <c:pt idx="66">
                  <c:v>303.06488318752446</c:v>
                </c:pt>
                <c:pt idx="67">
                  <c:v>308.94423137885855</c:v>
                </c:pt>
                <c:pt idx="68">
                  <c:v>314.67991279968447</c:v>
                </c:pt>
                <c:pt idx="69">
                  <c:v>320.24627974237927</c:v>
                </c:pt>
                <c:pt idx="70">
                  <c:v>325.61910548445758</c:v>
                </c:pt>
                <c:pt idx="71">
                  <c:v>330.77514646433025</c:v>
                </c:pt>
                <c:pt idx="72">
                  <c:v>335.69211773689085</c:v>
                </c:pt>
                <c:pt idx="73">
                  <c:v>340.34861787586408</c:v>
                </c:pt>
                <c:pt idx="74">
                  <c:v>344.72459938406587</c:v>
                </c:pt>
                <c:pt idx="75">
                  <c:v>348.80141285371263</c:v>
                </c:pt>
                <c:pt idx="76">
                  <c:v>352.56177902033124</c:v>
                </c:pt>
                <c:pt idx="77">
                  <c:v>355.98996334533803</c:v>
                </c:pt>
                <c:pt idx="78">
                  <c:v>359.07185364061974</c:v>
                </c:pt>
                <c:pt idx="79">
                  <c:v>361.79503528541233</c:v>
                </c:pt>
                <c:pt idx="80">
                  <c:v>364.14888033714624</c:v>
                </c:pt>
                <c:pt idx="81">
                  <c:v>366.12461336604127</c:v>
                </c:pt>
                <c:pt idx="82">
                  <c:v>367.71529393541419</c:v>
                </c:pt>
                <c:pt idx="83">
                  <c:v>368.91596084609546</c:v>
                </c:pt>
                <c:pt idx="84">
                  <c:v>369.72364156064282</c:v>
                </c:pt>
                <c:pt idx="85">
                  <c:v>370.13729324978431</c:v>
                </c:pt>
                <c:pt idx="86">
                  <c:v>370.15777263238084</c:v>
                </c:pt>
                <c:pt idx="87">
                  <c:v>369.78783109444566</c:v>
                </c:pt>
                <c:pt idx="88">
                  <c:v>369.03208966242238</c:v>
                </c:pt>
                <c:pt idx="89">
                  <c:v>367.89699435329118</c:v>
                </c:pt>
                <c:pt idx="90">
                  <c:v>366.39075061707319</c:v>
                </c:pt>
                <c:pt idx="91">
                  <c:v>364.52323875412378</c:v>
                </c:pt>
                <c:pt idx="92">
                  <c:v>362.30590080799186</c:v>
                </c:pt>
                <c:pt idx="93">
                  <c:v>359.751624291964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30.71812338838663</c:v>
                </c:pt>
                <c:pt idx="32">
                  <c:v>222.64536648629118</c:v>
                </c:pt>
                <c:pt idx="33">
                  <c:v>214.72225301648521</c:v>
                </c:pt>
                <c:pt idx="34">
                  <c:v>207.3894258297025</c:v>
                </c:pt>
                <c:pt idx="35">
                  <c:v>200.94444086301576</c:v>
                </c:pt>
                <c:pt idx="36">
                  <c:v>195.76037612909153</c:v>
                </c:pt>
                <c:pt idx="37">
                  <c:v>191.67868488001523</c:v>
                </c:pt>
                <c:pt idx="38">
                  <c:v>188.73227549957721</c:v>
                </c:pt>
                <c:pt idx="39">
                  <c:v>186.93235843367651</c:v>
                </c:pt>
                <c:pt idx="40">
                  <c:v>186.27798022478504</c:v>
                </c:pt>
                <c:pt idx="41">
                  <c:v>186.75598923418323</c:v>
                </c:pt>
                <c:pt idx="42">
                  <c:v>188.34259688485321</c:v>
                </c:pt>
                <c:pt idx="43">
                  <c:v>191.002803826606</c:v>
                </c:pt>
                <c:pt idx="44">
                  <c:v>194.6977023350054</c:v>
                </c:pt>
                <c:pt idx="45">
                  <c:v>199.38235939354146</c:v>
                </c:pt>
                <c:pt idx="46">
                  <c:v>205.00987492600387</c:v>
                </c:pt>
                <c:pt idx="47">
                  <c:v>211.53378827648001</c:v>
                </c:pt>
                <c:pt idx="48">
                  <c:v>218.89826244405504</c:v>
                </c:pt>
                <c:pt idx="49">
                  <c:v>227.02578694528293</c:v>
                </c:pt>
                <c:pt idx="50">
                  <c:v>235.83434726405252</c:v>
                </c:pt>
                <c:pt idx="51">
                  <c:v>245.25072224371613</c:v>
                </c:pt>
                <c:pt idx="52">
                  <c:v>255.21026556165896</c:v>
                </c:pt>
                <c:pt idx="53">
                  <c:v>265.65402692290485</c:v>
                </c:pt>
                <c:pt idx="54">
                  <c:v>276.52702744396993</c:v>
                </c:pt>
                <c:pt idx="55">
                  <c:v>287.77631201926351</c:v>
                </c:pt>
                <c:pt idx="56">
                  <c:v>299.3472569302125</c:v>
                </c:pt>
                <c:pt idx="57">
                  <c:v>311.1857749297439</c:v>
                </c:pt>
                <c:pt idx="58">
                  <c:v>323.24010270459888</c:v>
                </c:pt>
                <c:pt idx="59">
                  <c:v>335.45935584033771</c:v>
                </c:pt>
                <c:pt idx="60">
                  <c:v>347.79437400326066</c:v>
                </c:pt>
                <c:pt idx="61">
                  <c:v>360.19669308384624</c:v>
                </c:pt>
                <c:pt idx="62">
                  <c:v>372.61785107119834</c:v>
                </c:pt>
                <c:pt idx="63">
                  <c:v>385.00844997191655</c:v>
                </c:pt>
                <c:pt idx="64">
                  <c:v>397.31816506490543</c:v>
                </c:pt>
                <c:pt idx="65">
                  <c:v>409.49605832324625</c:v>
                </c:pt>
                <c:pt idx="66">
                  <c:v>421.490392570447</c:v>
                </c:pt>
                <c:pt idx="67">
                  <c:v>433.24908895311506</c:v>
                </c:pt>
                <c:pt idx="68">
                  <c:v>444.72045179476709</c:v>
                </c:pt>
                <c:pt idx="69">
                  <c:v>455.85318568015651</c:v>
                </c:pt>
                <c:pt idx="70">
                  <c:v>466.59883716431318</c:v>
                </c:pt>
                <c:pt idx="71">
                  <c:v>476.91091912405869</c:v>
                </c:pt>
                <c:pt idx="72">
                  <c:v>486.7448616691799</c:v>
                </c:pt>
                <c:pt idx="73">
                  <c:v>496.05786194712624</c:v>
                </c:pt>
                <c:pt idx="74">
                  <c:v>504.80982496352982</c:v>
                </c:pt>
                <c:pt idx="75">
                  <c:v>512.96345190282352</c:v>
                </c:pt>
                <c:pt idx="76">
                  <c:v>520.48418423606063</c:v>
                </c:pt>
                <c:pt idx="77">
                  <c:v>527.34055288607397</c:v>
                </c:pt>
                <c:pt idx="78">
                  <c:v>533.50433347663761</c:v>
                </c:pt>
                <c:pt idx="79">
                  <c:v>538.95069676622256</c:v>
                </c:pt>
                <c:pt idx="80">
                  <c:v>543.65838686969062</c:v>
                </c:pt>
                <c:pt idx="81">
                  <c:v>547.60985292748057</c:v>
                </c:pt>
                <c:pt idx="82">
                  <c:v>550.79121406622642</c:v>
                </c:pt>
                <c:pt idx="83">
                  <c:v>553.19254788758894</c:v>
                </c:pt>
                <c:pt idx="84">
                  <c:v>554.80790931668366</c:v>
                </c:pt>
                <c:pt idx="85">
                  <c:v>555.63521269496687</c:v>
                </c:pt>
                <c:pt idx="86">
                  <c:v>555.67617146015982</c:v>
                </c:pt>
                <c:pt idx="87">
                  <c:v>554.93628838428936</c:v>
                </c:pt>
                <c:pt idx="88">
                  <c:v>553.42480552024267</c:v>
                </c:pt>
                <c:pt idx="89">
                  <c:v>551.15461490198038</c:v>
                </c:pt>
                <c:pt idx="90">
                  <c:v>548.14212742954453</c:v>
                </c:pt>
                <c:pt idx="91">
                  <c:v>544.40710370364548</c:v>
                </c:pt>
                <c:pt idx="92">
                  <c:v>539.97242781138164</c:v>
                </c:pt>
                <c:pt idx="93">
                  <c:v>534.863874779326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653</c:v>
                </c:pt>
                <c:pt idx="1">
                  <c:v>648</c:v>
                </c:pt>
                <c:pt idx="2">
                  <c:v>671</c:v>
                </c:pt>
                <c:pt idx="3">
                  <c:v>645</c:v>
                </c:pt>
                <c:pt idx="4">
                  <c:v>659</c:v>
                </c:pt>
                <c:pt idx="5">
                  <c:v>700</c:v>
                </c:pt>
                <c:pt idx="6">
                  <c:v>684</c:v>
                </c:pt>
                <c:pt idx="7">
                  <c:v>684</c:v>
                </c:pt>
                <c:pt idx="8">
                  <c:v>680</c:v>
                </c:pt>
                <c:pt idx="9">
                  <c:v>627</c:v>
                </c:pt>
                <c:pt idx="10">
                  <c:v>601</c:v>
                </c:pt>
                <c:pt idx="11">
                  <c:v>592</c:v>
                </c:pt>
                <c:pt idx="12">
                  <c:v>628</c:v>
                </c:pt>
                <c:pt idx="13">
                  <c:v>584</c:v>
                </c:pt>
                <c:pt idx="14">
                  <c:v>555</c:v>
                </c:pt>
                <c:pt idx="15">
                  <c:v>538</c:v>
                </c:pt>
                <c:pt idx="16">
                  <c:v>516</c:v>
                </c:pt>
                <c:pt idx="17">
                  <c:v>491</c:v>
                </c:pt>
                <c:pt idx="18">
                  <c:v>475</c:v>
                </c:pt>
                <c:pt idx="19">
                  <c:v>489</c:v>
                </c:pt>
                <c:pt idx="20">
                  <c:v>454</c:v>
                </c:pt>
                <c:pt idx="21">
                  <c:v>406</c:v>
                </c:pt>
                <c:pt idx="22">
                  <c:v>354</c:v>
                </c:pt>
                <c:pt idx="23">
                  <c:v>316</c:v>
                </c:pt>
                <c:pt idx="24">
                  <c:v>299</c:v>
                </c:pt>
                <c:pt idx="25">
                  <c:v>305</c:v>
                </c:pt>
                <c:pt idx="26">
                  <c:v>307</c:v>
                </c:pt>
                <c:pt idx="27">
                  <c:v>285</c:v>
                </c:pt>
                <c:pt idx="28">
                  <c:v>277</c:v>
                </c:pt>
                <c:pt idx="29">
                  <c:v>253</c:v>
                </c:pt>
                <c:pt idx="30">
                  <c:v>242</c:v>
                </c:pt>
                <c:pt idx="31">
                  <c:v>222</c:v>
                </c:pt>
                <c:pt idx="32">
                  <c:v>212</c:v>
                </c:pt>
                <c:pt idx="33">
                  <c:v>217</c:v>
                </c:pt>
                <c:pt idx="34">
                  <c:v>207</c:v>
                </c:pt>
                <c:pt idx="35">
                  <c:v>203</c:v>
                </c:pt>
                <c:pt idx="36">
                  <c:v>191</c:v>
                </c:pt>
                <c:pt idx="37">
                  <c:v>173</c:v>
                </c:pt>
                <c:pt idx="38">
                  <c:v>162</c:v>
                </c:pt>
                <c:pt idx="39">
                  <c:v>161</c:v>
                </c:pt>
                <c:pt idx="40">
                  <c:v>166</c:v>
                </c:pt>
                <c:pt idx="41">
                  <c:v>156</c:v>
                </c:pt>
                <c:pt idx="42">
                  <c:v>125</c:v>
                </c:pt>
                <c:pt idx="43">
                  <c:v>120</c:v>
                </c:pt>
                <c:pt idx="44">
                  <c:v>116</c:v>
                </c:pt>
                <c:pt idx="45">
                  <c:v>101</c:v>
                </c:pt>
                <c:pt idx="46">
                  <c:v>103</c:v>
                </c:pt>
                <c:pt idx="47">
                  <c:v>106</c:v>
                </c:pt>
                <c:pt idx="48">
                  <c:v>104</c:v>
                </c:pt>
                <c:pt idx="49">
                  <c:v>103</c:v>
                </c:pt>
                <c:pt idx="50">
                  <c:v>107</c:v>
                </c:pt>
                <c:pt idx="51">
                  <c:v>102</c:v>
                </c:pt>
                <c:pt idx="52">
                  <c:v>104</c:v>
                </c:pt>
                <c:pt idx="53">
                  <c:v>113</c:v>
                </c:pt>
                <c:pt idx="54">
                  <c:v>124</c:v>
                </c:pt>
                <c:pt idx="55">
                  <c:v>122</c:v>
                </c:pt>
                <c:pt idx="56">
                  <c:v>126</c:v>
                </c:pt>
                <c:pt idx="57">
                  <c:v>140</c:v>
                </c:pt>
                <c:pt idx="58">
                  <c:v>152</c:v>
                </c:pt>
                <c:pt idx="59">
                  <c:v>146</c:v>
                </c:pt>
                <c:pt idx="60">
                  <c:v>164</c:v>
                </c:pt>
                <c:pt idx="61">
                  <c:v>177</c:v>
                </c:pt>
                <c:pt idx="62">
                  <c:v>184</c:v>
                </c:pt>
                <c:pt idx="63">
                  <c:v>198</c:v>
                </c:pt>
                <c:pt idx="64">
                  <c:v>188</c:v>
                </c:pt>
                <c:pt idx="65">
                  <c:v>193</c:v>
                </c:pt>
                <c:pt idx="66">
                  <c:v>197</c:v>
                </c:pt>
                <c:pt idx="67">
                  <c:v>205</c:v>
                </c:pt>
                <c:pt idx="68">
                  <c:v>223</c:v>
                </c:pt>
                <c:pt idx="69">
                  <c:v>241</c:v>
                </c:pt>
                <c:pt idx="70">
                  <c:v>243</c:v>
                </c:pt>
                <c:pt idx="71">
                  <c:v>255</c:v>
                </c:pt>
                <c:pt idx="72">
                  <c:v>274</c:v>
                </c:pt>
                <c:pt idx="73">
                  <c:v>277</c:v>
                </c:pt>
                <c:pt idx="74">
                  <c:v>271</c:v>
                </c:pt>
                <c:pt idx="75">
                  <c:v>292</c:v>
                </c:pt>
                <c:pt idx="76">
                  <c:v>278</c:v>
                </c:pt>
                <c:pt idx="77">
                  <c:v>274</c:v>
                </c:pt>
                <c:pt idx="78">
                  <c:v>267</c:v>
                </c:pt>
                <c:pt idx="79">
                  <c:v>249</c:v>
                </c:pt>
                <c:pt idx="80">
                  <c:v>236</c:v>
                </c:pt>
                <c:pt idx="81">
                  <c:v>237</c:v>
                </c:pt>
                <c:pt idx="82">
                  <c:v>259</c:v>
                </c:pt>
                <c:pt idx="83">
                  <c:v>216</c:v>
                </c:pt>
                <c:pt idx="84">
                  <c:v>220</c:v>
                </c:pt>
                <c:pt idx="85">
                  <c:v>215</c:v>
                </c:pt>
                <c:pt idx="86">
                  <c:v>207</c:v>
                </c:pt>
                <c:pt idx="87">
                  <c:v>186</c:v>
                </c:pt>
                <c:pt idx="88">
                  <c:v>181</c:v>
                </c:pt>
                <c:pt idx="89">
                  <c:v>196</c:v>
                </c:pt>
                <c:pt idx="90">
                  <c:v>184</c:v>
                </c:pt>
                <c:pt idx="91">
                  <c:v>158</c:v>
                </c:pt>
                <c:pt idx="92">
                  <c:v>152</c:v>
                </c:pt>
                <c:pt idx="93">
                  <c:v>1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98.67965756040047</c:v>
                </c:pt>
                <c:pt idx="32">
                  <c:v>288.22894726649213</c:v>
                </c:pt>
                <c:pt idx="33">
                  <c:v>277.97196015503681</c:v>
                </c:pt>
                <c:pt idx="34">
                  <c:v>267.91735802107104</c:v>
                </c:pt>
                <c:pt idx="35">
                  <c:v>258.07251837696515</c:v>
                </c:pt>
                <c:pt idx="36">
                  <c:v>248.72381822840367</c:v>
                </c:pt>
                <c:pt idx="37">
                  <c:v>239.57584974307258</c:v>
                </c:pt>
                <c:pt idx="38">
                  <c:v>230.63368335930775</c:v>
                </c:pt>
                <c:pt idx="39">
                  <c:v>221.90152976228632</c:v>
                </c:pt>
                <c:pt idx="40">
                  <c:v>213.38303562165723</c:v>
                </c:pt>
                <c:pt idx="41">
                  <c:v>205.24572338119071</c:v>
                </c:pt>
                <c:pt idx="42">
                  <c:v>197.60294285098092</c:v>
                </c:pt>
                <c:pt idx="43">
                  <c:v>190.50835795247079</c:v>
                </c:pt>
                <c:pt idx="44">
                  <c:v>183.97920836057057</c:v>
                </c:pt>
                <c:pt idx="45">
                  <c:v>178.01256131816956</c:v>
                </c:pt>
                <c:pt idx="46">
                  <c:v>172.59443980455492</c:v>
                </c:pt>
                <c:pt idx="47">
                  <c:v>167.70462698957257</c:v>
                </c:pt>
                <c:pt idx="48">
                  <c:v>163.31754978587634</c:v>
                </c:pt>
                <c:pt idx="49">
                  <c:v>159.40343859314859</c:v>
                </c:pt>
                <c:pt idx="50">
                  <c:v>155.92850863435839</c:v>
                </c:pt>
                <c:pt idx="51">
                  <c:v>152.858151476122</c:v>
                </c:pt>
                <c:pt idx="52">
                  <c:v>150.15652094270476</c:v>
                </c:pt>
                <c:pt idx="53">
                  <c:v>147.78832578411053</c:v>
                </c:pt>
                <c:pt idx="54">
                  <c:v>145.7199583909001</c:v>
                </c:pt>
                <c:pt idx="55">
                  <c:v>143.91593400781034</c:v>
                </c:pt>
                <c:pt idx="56">
                  <c:v>142.33440028007888</c:v>
                </c:pt>
                <c:pt idx="57">
                  <c:v>140.93378190165194</c:v>
                </c:pt>
                <c:pt idx="58">
                  <c:v>139.67808918986276</c:v>
                </c:pt>
                <c:pt idx="59">
                  <c:v>138.53704109204878</c:v>
                </c:pt>
                <c:pt idx="60">
                  <c:v>137.48498175921679</c:v>
                </c:pt>
                <c:pt idx="61">
                  <c:v>136.50012536172665</c:v>
                </c:pt>
                <c:pt idx="62">
                  <c:v>135.56369070284282</c:v>
                </c:pt>
                <c:pt idx="63">
                  <c:v>134.65837490473959</c:v>
                </c:pt>
                <c:pt idx="64">
                  <c:v>133.76908666875684</c:v>
                </c:pt>
                <c:pt idx="65">
                  <c:v>132.88353742241816</c:v>
                </c:pt>
                <c:pt idx="66">
                  <c:v>131.99162023011226</c:v>
                </c:pt>
                <c:pt idx="67">
                  <c:v>131.08559733738139</c:v>
                </c:pt>
                <c:pt idx="68">
                  <c:v>130.15957782019822</c:v>
                </c:pt>
                <c:pt idx="69">
                  <c:v>129.20911112058789</c:v>
                </c:pt>
                <c:pt idx="70">
                  <c:v>128.23115793202308</c:v>
                </c:pt>
                <c:pt idx="71">
                  <c:v>127.22380893967876</c:v>
                </c:pt>
                <c:pt idx="72">
                  <c:v>126.18607208763567</c:v>
                </c:pt>
                <c:pt idx="73">
                  <c:v>125.11756556650806</c:v>
                </c:pt>
                <c:pt idx="74">
                  <c:v>124.01848218037392</c:v>
                </c:pt>
                <c:pt idx="75">
                  <c:v>122.88966458243115</c:v>
                </c:pt>
                <c:pt idx="76">
                  <c:v>121.7324184723026</c:v>
                </c:pt>
                <c:pt idx="77">
                  <c:v>120.54828922185322</c:v>
                </c:pt>
                <c:pt idx="78">
                  <c:v>119.33878769244232</c:v>
                </c:pt>
                <c:pt idx="79">
                  <c:v>118.10544909039862</c:v>
                </c:pt>
                <c:pt idx="80">
                  <c:v>116.84975809792324</c:v>
                </c:pt>
                <c:pt idx="81">
                  <c:v>115.57341191922244</c:v>
                </c:pt>
                <c:pt idx="82">
                  <c:v>114.27824344851632</c:v>
                </c:pt>
                <c:pt idx="83">
                  <c:v>112.96607531163028</c:v>
                </c:pt>
                <c:pt idx="84">
                  <c:v>111.63873722054193</c:v>
                </c:pt>
                <c:pt idx="85">
                  <c:v>110.2980083306377</c:v>
                </c:pt>
                <c:pt idx="86">
                  <c:v>108.94559228927454</c:v>
                </c:pt>
                <c:pt idx="87">
                  <c:v>107.58311541173379</c:v>
                </c:pt>
                <c:pt idx="88">
                  <c:v>106.21212629839944</c:v>
                </c:pt>
                <c:pt idx="89">
                  <c:v>104.83403328168367</c:v>
                </c:pt>
                <c:pt idx="90">
                  <c:v>103.45018031386849</c:v>
                </c:pt>
                <c:pt idx="91">
                  <c:v>102.06185319677995</c:v>
                </c:pt>
                <c:pt idx="92">
                  <c:v>100.67026925576253</c:v>
                </c:pt>
                <c:pt idx="93">
                  <c:v>99.2765724746496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98.67965756040047</c:v>
                </c:pt>
                <c:pt idx="32">
                  <c:v>288.22894726649213</c:v>
                </c:pt>
                <c:pt idx="33">
                  <c:v>277.97196015503681</c:v>
                </c:pt>
                <c:pt idx="34">
                  <c:v>268.47913713388658</c:v>
                </c:pt>
                <c:pt idx="35">
                  <c:v>260.13568376940407</c:v>
                </c:pt>
                <c:pt idx="36">
                  <c:v>253.42457388016086</c:v>
                </c:pt>
                <c:pt idx="37">
                  <c:v>248.14055836097623</c:v>
                </c:pt>
                <c:pt idx="38">
                  <c:v>244.32623926086569</c:v>
                </c:pt>
                <c:pt idx="39">
                  <c:v>240.51192016075515</c:v>
                </c:pt>
                <c:pt idx="40">
                  <c:v>240.0883525266303</c:v>
                </c:pt>
                <c:pt idx="41">
                  <c:v>240.39775944521361</c:v>
                </c:pt>
                <c:pt idx="42">
                  <c:v>241.42474298431574</c:v>
                </c:pt>
                <c:pt idx="43">
                  <c:v>243.14664867324373</c:v>
                </c:pt>
                <c:pt idx="44">
                  <c:v>245.53829221862622</c:v>
                </c:pt>
                <c:pt idx="45">
                  <c:v>248.57058926031991</c:v>
                </c:pt>
                <c:pt idx="46">
                  <c:v>252.21318219464749</c:v>
                </c:pt>
                <c:pt idx="47">
                  <c:v>256.43599784704804</c:v>
                </c:pt>
                <c:pt idx="48">
                  <c:v>261.20289389790776</c:v>
                </c:pt>
                <c:pt idx="49">
                  <c:v>266.4636991593004</c:v>
                </c:pt>
                <c:pt idx="50">
                  <c:v>272.16532706128658</c:v>
                </c:pt>
                <c:pt idx="51">
                  <c:v>278.26038282257963</c:v>
                </c:pt>
                <c:pt idx="52">
                  <c:v>284.70702200283512</c:v>
                </c:pt>
                <c:pt idx="53">
                  <c:v>291.46708710133726</c:v>
                </c:pt>
                <c:pt idx="54">
                  <c:v>298.50499124296135</c:v>
                </c:pt>
                <c:pt idx="55">
                  <c:v>305.78645750881719</c:v>
                </c:pt>
                <c:pt idx="56">
                  <c:v>313.27612891584994</c:v>
                </c:pt>
                <c:pt idx="57">
                  <c:v>320.93899572967706</c:v>
                </c:pt>
                <c:pt idx="58">
                  <c:v>328.74155245785767</c:v>
                </c:pt>
                <c:pt idx="59">
                  <c:v>336.65086250387117</c:v>
                </c:pt>
                <c:pt idx="60">
                  <c:v>344.6351052386762</c:v>
                </c:pt>
                <c:pt idx="61">
                  <c:v>352.66291068703356</c:v>
                </c:pt>
                <c:pt idx="62">
                  <c:v>360.70291023210757</c:v>
                </c:pt>
                <c:pt idx="63">
                  <c:v>368.7231294118659</c:v>
                </c:pt>
                <c:pt idx="64">
                  <c:v>376.69099390955608</c:v>
                </c:pt>
                <c:pt idx="65">
                  <c:v>384.57353242623219</c:v>
                </c:pt>
                <c:pt idx="66">
                  <c:v>392.33725638732784</c:v>
                </c:pt>
                <c:pt idx="67">
                  <c:v>399.94845605676136</c:v>
                </c:pt>
                <c:pt idx="68">
                  <c:v>407.37366972220019</c:v>
                </c:pt>
                <c:pt idx="69">
                  <c:v>414.57969475344964</c:v>
                </c:pt>
                <c:pt idx="70">
                  <c:v>421.53516807824883</c:v>
                </c:pt>
                <c:pt idx="71">
                  <c:v>428.20999939023619</c:v>
                </c:pt>
                <c:pt idx="72">
                  <c:v>434.57533937460539</c:v>
                </c:pt>
                <c:pt idx="73">
                  <c:v>440.6034824892979</c:v>
                </c:pt>
                <c:pt idx="74">
                  <c:v>446.26847594176348</c:v>
                </c:pt>
                <c:pt idx="75">
                  <c:v>451.54617685736059</c:v>
                </c:pt>
                <c:pt idx="76">
                  <c:v>456.41421610132005</c:v>
                </c:pt>
                <c:pt idx="77">
                  <c:v>460.85222428727997</c:v>
                </c:pt>
                <c:pt idx="78">
                  <c:v>464.8419322673675</c:v>
                </c:pt>
                <c:pt idx="79">
                  <c:v>468.36726850535439</c:v>
                </c:pt>
                <c:pt idx="80">
                  <c:v>471.41447443645774</c:v>
                </c:pt>
                <c:pt idx="81">
                  <c:v>473.97218969451637</c:v>
                </c:pt>
                <c:pt idx="82">
                  <c:v>476.0314294316068</c:v>
                </c:pt>
                <c:pt idx="83">
                  <c:v>477.58577105184742</c:v>
                </c:pt>
                <c:pt idx="84">
                  <c:v>478.63136641165823</c:v>
                </c:pt>
                <c:pt idx="85">
                  <c:v>479.16686550053589</c:v>
                </c:pt>
                <c:pt idx="86">
                  <c:v>479.193377396919</c:v>
                </c:pt>
                <c:pt idx="87">
                  <c:v>478.71446394943996</c:v>
                </c:pt>
                <c:pt idx="88">
                  <c:v>477.7361073782011</c:v>
                </c:pt>
                <c:pt idx="89">
                  <c:v>476.2666524725758</c:v>
                </c:pt>
                <c:pt idx="90">
                  <c:v>474.31672172275449</c:v>
                </c:pt>
                <c:pt idx="91">
                  <c:v>471.89910582191453</c:v>
                </c:pt>
                <c:pt idx="92">
                  <c:v>469.02861724165029</c:v>
                </c:pt>
                <c:pt idx="93">
                  <c:v>465.72193970840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98.67965756040047</c:v>
                </c:pt>
                <c:pt idx="32">
                  <c:v>288.22894726649213</c:v>
                </c:pt>
                <c:pt idx="33">
                  <c:v>277.97196015503681</c:v>
                </c:pt>
                <c:pt idx="34">
                  <c:v>268.47913713388658</c:v>
                </c:pt>
                <c:pt idx="35">
                  <c:v>260.13568376940407</c:v>
                </c:pt>
                <c:pt idx="36">
                  <c:v>253.42457388016086</c:v>
                </c:pt>
                <c:pt idx="37">
                  <c:v>248.14055836097623</c:v>
                </c:pt>
                <c:pt idx="38">
                  <c:v>244.32623926086569</c:v>
                </c:pt>
                <c:pt idx="39">
                  <c:v>241.99612923316164</c:v>
                </c:pt>
                <c:pt idx="40">
                  <c:v>241.14899396491188</c:v>
                </c:pt>
                <c:pt idx="41">
                  <c:v>241.76780780207849</c:v>
                </c:pt>
                <c:pt idx="42">
                  <c:v>243.82177488028276</c:v>
                </c:pt>
                <c:pt idx="43">
                  <c:v>247.26558625813882</c:v>
                </c:pt>
                <c:pt idx="44">
                  <c:v>252.0488733489037</c:v>
                </c:pt>
                <c:pt idx="45">
                  <c:v>258.11346743229115</c:v>
                </c:pt>
                <c:pt idx="46">
                  <c:v>265.39865330094625</c:v>
                </c:pt>
                <c:pt idx="47">
                  <c:v>273.84428460574748</c:v>
                </c:pt>
                <c:pt idx="48">
                  <c:v>283.37807670746685</c:v>
                </c:pt>
                <c:pt idx="49">
                  <c:v>293.89968723025208</c:v>
                </c:pt>
                <c:pt idx="50">
                  <c:v>305.30294303422448</c:v>
                </c:pt>
                <c:pt idx="51">
                  <c:v>317.4930545568107</c:v>
                </c:pt>
                <c:pt idx="52">
                  <c:v>330.38633291732151</c:v>
                </c:pt>
                <c:pt idx="53">
                  <c:v>343.90646311432573</c:v>
                </c:pt>
                <c:pt idx="54">
                  <c:v>357.98227139757404</c:v>
                </c:pt>
                <c:pt idx="55">
                  <c:v>372.54520392928572</c:v>
                </c:pt>
                <c:pt idx="56">
                  <c:v>387.5245467433511</c:v>
                </c:pt>
                <c:pt idx="57">
                  <c:v>402.8502803710054</c:v>
                </c:pt>
                <c:pt idx="58">
                  <c:v>418.45539382736655</c:v>
                </c:pt>
                <c:pt idx="59">
                  <c:v>434.27401391939367</c:v>
                </c:pt>
                <c:pt idx="60">
                  <c:v>450.24249938900368</c:v>
                </c:pt>
                <c:pt idx="61">
                  <c:v>466.29811028571828</c:v>
                </c:pt>
                <c:pt idx="62">
                  <c:v>482.37810937586647</c:v>
                </c:pt>
                <c:pt idx="63">
                  <c:v>498.41854773538319</c:v>
                </c:pt>
                <c:pt idx="64">
                  <c:v>514.35427673076344</c:v>
                </c:pt>
                <c:pt idx="65">
                  <c:v>530.11935376411543</c:v>
                </c:pt>
                <c:pt idx="66">
                  <c:v>545.64680168630684</c:v>
                </c:pt>
                <c:pt idx="67">
                  <c:v>560.86920102517388</c:v>
                </c:pt>
                <c:pt idx="68">
                  <c:v>575.71962835605166</c:v>
                </c:pt>
                <c:pt idx="69">
                  <c:v>590.13167841855034</c:v>
                </c:pt>
                <c:pt idx="70">
                  <c:v>604.04262506814882</c:v>
                </c:pt>
                <c:pt idx="71">
                  <c:v>617.39228769212377</c:v>
                </c:pt>
                <c:pt idx="72">
                  <c:v>630.12296766086217</c:v>
                </c:pt>
                <c:pt idx="73">
                  <c:v>642.17925389024708</c:v>
                </c:pt>
                <c:pt idx="74">
                  <c:v>653.50924079517824</c:v>
                </c:pt>
                <c:pt idx="75">
                  <c:v>664.06464262637257</c:v>
                </c:pt>
                <c:pt idx="76">
                  <c:v>673.80072111429138</c:v>
                </c:pt>
                <c:pt idx="77">
                  <c:v>682.67673748621087</c:v>
                </c:pt>
                <c:pt idx="78">
                  <c:v>690.65615344638627</c:v>
                </c:pt>
                <c:pt idx="79">
                  <c:v>697.70682592235983</c:v>
                </c:pt>
                <c:pt idx="80">
                  <c:v>703.80123778456675</c:v>
                </c:pt>
                <c:pt idx="81">
                  <c:v>708.91666830068391</c:v>
                </c:pt>
                <c:pt idx="82">
                  <c:v>713.03514777486475</c:v>
                </c:pt>
                <c:pt idx="83">
                  <c:v>716.143831015346</c:v>
                </c:pt>
                <c:pt idx="84">
                  <c:v>718.23502173496763</c:v>
                </c:pt>
                <c:pt idx="85">
                  <c:v>719.30601991272329</c:v>
                </c:pt>
                <c:pt idx="86">
                  <c:v>719.3590437054894</c:v>
                </c:pt>
                <c:pt idx="87">
                  <c:v>718.40121681053108</c:v>
                </c:pt>
                <c:pt idx="88">
                  <c:v>716.44450366805324</c:v>
                </c:pt>
                <c:pt idx="89">
                  <c:v>713.50559385680276</c:v>
                </c:pt>
                <c:pt idx="90">
                  <c:v>709.60573235716038</c:v>
                </c:pt>
                <c:pt idx="91">
                  <c:v>704.77050055548</c:v>
                </c:pt>
                <c:pt idx="92">
                  <c:v>699.02952339495164</c:v>
                </c:pt>
                <c:pt idx="93">
                  <c:v>692.416168328454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1043</c:v>
                </c:pt>
                <c:pt idx="1">
                  <c:v>1054</c:v>
                </c:pt>
                <c:pt idx="2">
                  <c:v>1038</c:v>
                </c:pt>
                <c:pt idx="3">
                  <c:v>964</c:v>
                </c:pt>
                <c:pt idx="4">
                  <c:v>959</c:v>
                </c:pt>
                <c:pt idx="5">
                  <c:v>1026</c:v>
                </c:pt>
                <c:pt idx="6">
                  <c:v>995</c:v>
                </c:pt>
                <c:pt idx="7">
                  <c:v>986</c:v>
                </c:pt>
                <c:pt idx="8">
                  <c:v>953</c:v>
                </c:pt>
                <c:pt idx="9">
                  <c:v>926</c:v>
                </c:pt>
                <c:pt idx="10">
                  <c:v>853</c:v>
                </c:pt>
                <c:pt idx="11">
                  <c:v>857</c:v>
                </c:pt>
                <c:pt idx="12">
                  <c:v>887</c:v>
                </c:pt>
                <c:pt idx="13">
                  <c:v>859</c:v>
                </c:pt>
                <c:pt idx="14">
                  <c:v>822</c:v>
                </c:pt>
                <c:pt idx="15">
                  <c:v>806</c:v>
                </c:pt>
                <c:pt idx="16">
                  <c:v>767</c:v>
                </c:pt>
                <c:pt idx="17">
                  <c:v>684</c:v>
                </c:pt>
                <c:pt idx="18">
                  <c:v>665</c:v>
                </c:pt>
                <c:pt idx="19">
                  <c:v>717</c:v>
                </c:pt>
                <c:pt idx="20">
                  <c:v>707</c:v>
                </c:pt>
                <c:pt idx="21">
                  <c:v>636</c:v>
                </c:pt>
                <c:pt idx="22">
                  <c:v>597</c:v>
                </c:pt>
                <c:pt idx="23">
                  <c:v>506</c:v>
                </c:pt>
                <c:pt idx="24">
                  <c:v>460</c:v>
                </c:pt>
                <c:pt idx="25">
                  <c:v>460</c:v>
                </c:pt>
                <c:pt idx="26">
                  <c:v>527</c:v>
                </c:pt>
                <c:pt idx="27">
                  <c:v>506</c:v>
                </c:pt>
                <c:pt idx="28">
                  <c:v>499</c:v>
                </c:pt>
                <c:pt idx="29">
                  <c:v>480</c:v>
                </c:pt>
                <c:pt idx="30">
                  <c:v>464</c:v>
                </c:pt>
                <c:pt idx="31">
                  <c:v>439</c:v>
                </c:pt>
                <c:pt idx="32">
                  <c:v>450</c:v>
                </c:pt>
                <c:pt idx="33">
                  <c:v>491</c:v>
                </c:pt>
                <c:pt idx="34">
                  <c:v>487</c:v>
                </c:pt>
                <c:pt idx="35">
                  <c:v>450</c:v>
                </c:pt>
                <c:pt idx="36">
                  <c:v>450</c:v>
                </c:pt>
                <c:pt idx="37">
                  <c:v>431</c:v>
                </c:pt>
                <c:pt idx="38">
                  <c:v>405</c:v>
                </c:pt>
                <c:pt idx="39">
                  <c:v>402</c:v>
                </c:pt>
                <c:pt idx="40">
                  <c:v>418</c:v>
                </c:pt>
                <c:pt idx="41">
                  <c:v>383</c:v>
                </c:pt>
                <c:pt idx="42">
                  <c:v>339</c:v>
                </c:pt>
                <c:pt idx="43">
                  <c:v>313</c:v>
                </c:pt>
                <c:pt idx="44">
                  <c:v>263</c:v>
                </c:pt>
                <c:pt idx="45">
                  <c:v>231</c:v>
                </c:pt>
                <c:pt idx="46">
                  <c:v>234</c:v>
                </c:pt>
                <c:pt idx="47">
                  <c:v>255</c:v>
                </c:pt>
                <c:pt idx="48">
                  <c:v>234</c:v>
                </c:pt>
                <c:pt idx="49">
                  <c:v>216</c:v>
                </c:pt>
                <c:pt idx="50">
                  <c:v>208</c:v>
                </c:pt>
                <c:pt idx="51">
                  <c:v>194</c:v>
                </c:pt>
                <c:pt idx="52">
                  <c:v>184</c:v>
                </c:pt>
                <c:pt idx="53">
                  <c:v>201</c:v>
                </c:pt>
                <c:pt idx="54">
                  <c:v>216</c:v>
                </c:pt>
                <c:pt idx="55">
                  <c:v>215</c:v>
                </c:pt>
                <c:pt idx="56">
                  <c:v>230</c:v>
                </c:pt>
                <c:pt idx="57">
                  <c:v>249</c:v>
                </c:pt>
                <c:pt idx="58">
                  <c:v>264</c:v>
                </c:pt>
                <c:pt idx="59">
                  <c:v>252</c:v>
                </c:pt>
                <c:pt idx="60">
                  <c:v>268</c:v>
                </c:pt>
                <c:pt idx="61">
                  <c:v>323</c:v>
                </c:pt>
                <c:pt idx="62">
                  <c:v>385</c:v>
                </c:pt>
                <c:pt idx="63">
                  <c:v>420</c:v>
                </c:pt>
                <c:pt idx="64">
                  <c:v>463</c:v>
                </c:pt>
                <c:pt idx="65">
                  <c:v>440</c:v>
                </c:pt>
                <c:pt idx="66">
                  <c:v>436</c:v>
                </c:pt>
                <c:pt idx="67">
                  <c:v>453</c:v>
                </c:pt>
                <c:pt idx="68">
                  <c:v>525</c:v>
                </c:pt>
                <c:pt idx="69">
                  <c:v>534</c:v>
                </c:pt>
                <c:pt idx="70">
                  <c:v>532</c:v>
                </c:pt>
                <c:pt idx="71">
                  <c:v>536</c:v>
                </c:pt>
                <c:pt idx="72">
                  <c:v>562</c:v>
                </c:pt>
                <c:pt idx="73">
                  <c:v>547</c:v>
                </c:pt>
                <c:pt idx="74">
                  <c:v>554</c:v>
                </c:pt>
                <c:pt idx="75">
                  <c:v>600</c:v>
                </c:pt>
                <c:pt idx="76">
                  <c:v>583</c:v>
                </c:pt>
                <c:pt idx="77">
                  <c:v>556</c:v>
                </c:pt>
                <c:pt idx="78">
                  <c:v>545</c:v>
                </c:pt>
                <c:pt idx="79">
                  <c:v>527</c:v>
                </c:pt>
                <c:pt idx="80">
                  <c:v>470</c:v>
                </c:pt>
                <c:pt idx="81">
                  <c:v>473</c:v>
                </c:pt>
                <c:pt idx="82">
                  <c:v>519</c:v>
                </c:pt>
                <c:pt idx="83">
                  <c:v>521</c:v>
                </c:pt>
                <c:pt idx="84">
                  <c:v>487</c:v>
                </c:pt>
                <c:pt idx="85">
                  <c:v>484</c:v>
                </c:pt>
                <c:pt idx="86">
                  <c:v>478</c:v>
                </c:pt>
                <c:pt idx="87">
                  <c:v>437</c:v>
                </c:pt>
                <c:pt idx="88">
                  <c:v>423</c:v>
                </c:pt>
                <c:pt idx="89">
                  <c:v>455</c:v>
                </c:pt>
                <c:pt idx="90">
                  <c:v>454</c:v>
                </c:pt>
                <c:pt idx="91">
                  <c:v>402</c:v>
                </c:pt>
                <c:pt idx="92">
                  <c:v>377</c:v>
                </c:pt>
                <c:pt idx="93">
                  <c:v>3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69.27189140395399</c:v>
                </c:pt>
                <c:pt idx="32">
                  <c:v>549.35324122160978</c:v>
                </c:pt>
                <c:pt idx="33">
                  <c:v>529.80381994284937</c:v>
                </c:pt>
                <c:pt idx="34">
                  <c:v>510.64013661446796</c:v>
                </c:pt>
                <c:pt idx="35">
                  <c:v>491.87625249010159</c:v>
                </c:pt>
                <c:pt idx="36">
                  <c:v>474.05799108184419</c:v>
                </c:pt>
                <c:pt idx="37">
                  <c:v>456.62231647084366</c:v>
                </c:pt>
                <c:pt idx="38">
                  <c:v>439.57889271673275</c:v>
                </c:pt>
                <c:pt idx="39">
                  <c:v>422.93574522282955</c:v>
                </c:pt>
                <c:pt idx="40">
                  <c:v>406.69982440063978</c:v>
                </c:pt>
                <c:pt idx="41">
                  <c:v>391.19042155776907</c:v>
                </c:pt>
                <c:pt idx="42">
                  <c:v>376.62357705434658</c:v>
                </c:pt>
                <c:pt idx="43">
                  <c:v>363.10157225198049</c:v>
                </c:pt>
                <c:pt idx="44">
                  <c:v>350.65726530520175</c:v>
                </c:pt>
                <c:pt idx="45">
                  <c:v>339.28506649222919</c:v>
                </c:pt>
                <c:pt idx="46">
                  <c:v>328.95833615141873</c:v>
                </c:pt>
                <c:pt idx="47">
                  <c:v>319.63854178533148</c:v>
                </c:pt>
                <c:pt idx="48">
                  <c:v>311.27694207719509</c:v>
                </c:pt>
                <c:pt idx="49">
                  <c:v>303.8167973185956</c:v>
                </c:pt>
                <c:pt idx="50">
                  <c:v>297.19371502938174</c:v>
                </c:pt>
                <c:pt idx="51">
                  <c:v>291.34173287220568</c:v>
                </c:pt>
                <c:pt idx="52">
                  <c:v>286.19252942060439</c:v>
                </c:pt>
                <c:pt idx="53">
                  <c:v>281.67884091513935</c:v>
                </c:pt>
                <c:pt idx="54">
                  <c:v>277.73661255024626</c:v>
                </c:pt>
                <c:pt idx="55">
                  <c:v>274.29821175292153</c:v>
                </c:pt>
                <c:pt idx="56">
                  <c:v>271.28386955145186</c:v>
                </c:pt>
                <c:pt idx="57">
                  <c:v>268.61434501826193</c:v>
                </c:pt>
                <c:pt idx="58">
                  <c:v>266.2210432082187</c:v>
                </c:pt>
                <c:pt idx="59">
                  <c:v>264.04624960449269</c:v>
                </c:pt>
                <c:pt idx="60">
                  <c:v>262.04106514980867</c:v>
                </c:pt>
                <c:pt idx="61">
                  <c:v>260.1639668943069</c:v>
                </c:pt>
                <c:pt idx="62">
                  <c:v>258.37915860239565</c:v>
                </c:pt>
                <c:pt idx="63">
                  <c:v>256.65366165722833</c:v>
                </c:pt>
                <c:pt idx="64">
                  <c:v>254.95871262642993</c:v>
                </c:pt>
                <c:pt idx="65">
                  <c:v>253.27088996548218</c:v>
                </c:pt>
                <c:pt idx="66">
                  <c:v>251.57093024547009</c:v>
                </c:pt>
                <c:pt idx="67">
                  <c:v>249.84408560525253</c:v>
                </c:pt>
                <c:pt idx="68">
                  <c:v>248.07912817115871</c:v>
                </c:pt>
                <c:pt idx="69">
                  <c:v>246.26757535158234</c:v>
                </c:pt>
                <c:pt idx="70">
                  <c:v>244.40363434566959</c:v>
                </c:pt>
                <c:pt idx="71">
                  <c:v>242.48366607310732</c:v>
                </c:pt>
                <c:pt idx="72">
                  <c:v>240.50577971362972</c:v>
                </c:pt>
                <c:pt idx="73">
                  <c:v>238.46924755329417</c:v>
                </c:pt>
                <c:pt idx="74">
                  <c:v>236.37443706922656</c:v>
                </c:pt>
                <c:pt idx="75">
                  <c:v>234.22295432587637</c:v>
                </c:pt>
                <c:pt idx="76">
                  <c:v>232.01728793629468</c:v>
                </c:pt>
                <c:pt idx="77">
                  <c:v>229.76038331956914</c:v>
                </c:pt>
                <c:pt idx="78">
                  <c:v>227.45512011909665</c:v>
                </c:pt>
                <c:pt idx="79">
                  <c:v>225.10442437884541</c:v>
                </c:pt>
                <c:pt idx="80">
                  <c:v>222.71112584574794</c:v>
                </c:pt>
                <c:pt idx="81">
                  <c:v>220.27845932547018</c:v>
                </c:pt>
                <c:pt idx="82">
                  <c:v>217.80991824360376</c:v>
                </c:pt>
                <c:pt idx="83">
                  <c:v>215.30897645457665</c:v>
                </c:pt>
                <c:pt idx="84">
                  <c:v>212.77912131874913</c:v>
                </c:pt>
                <c:pt idx="85">
                  <c:v>210.22374383757145</c:v>
                </c:pt>
                <c:pt idx="86">
                  <c:v>207.64609109710599</c:v>
                </c:pt>
                <c:pt idx="87">
                  <c:v>205.04926279146576</c:v>
                </c:pt>
                <c:pt idx="88">
                  <c:v>202.4362104931711</c:v>
                </c:pt>
                <c:pt idx="89">
                  <c:v>199.80961842940553</c:v>
                </c:pt>
                <c:pt idx="90">
                  <c:v>197.17204812131106</c:v>
                </c:pt>
                <c:pt idx="91">
                  <c:v>194.52595025750674</c:v>
                </c:pt>
                <c:pt idx="92">
                  <c:v>191.87364501308227</c:v>
                </c:pt>
                <c:pt idx="93">
                  <c:v>189.217312777040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69.27189140395399</c:v>
                </c:pt>
                <c:pt idx="32">
                  <c:v>549.35324122160978</c:v>
                </c:pt>
                <c:pt idx="33">
                  <c:v>529.80381994284937</c:v>
                </c:pt>
                <c:pt idx="34">
                  <c:v>511.71086590589641</c:v>
                </c:pt>
                <c:pt idx="35">
                  <c:v>495.8085660424411</c:v>
                </c:pt>
                <c:pt idx="36">
                  <c:v>483.01744979678023</c:v>
                </c:pt>
                <c:pt idx="37">
                  <c:v>472.94632030177672</c:v>
                </c:pt>
                <c:pt idx="38">
                  <c:v>465.67637541743511</c:v>
                </c:pt>
                <c:pt idx="39">
                  <c:v>458.40643053309344</c:v>
                </c:pt>
                <c:pt idx="40">
                  <c:v>457.59912698190669</c:v>
                </c:pt>
                <c:pt idx="41">
                  <c:v>458.18884461850126</c:v>
                </c:pt>
                <c:pt idx="42">
                  <c:v>460.14623557883863</c:v>
                </c:pt>
                <c:pt idx="43">
                  <c:v>463.42812131676186</c:v>
                </c:pt>
                <c:pt idx="44">
                  <c:v>467.98650154179813</c:v>
                </c:pt>
                <c:pt idx="45">
                  <c:v>473.76594258683986</c:v>
                </c:pt>
                <c:pt idx="46">
                  <c:v>480.70858403177994</c:v>
                </c:pt>
                <c:pt idx="47">
                  <c:v>488.7571075674216</c:v>
                </c:pt>
                <c:pt idx="48">
                  <c:v>497.84262732850601</c:v>
                </c:pt>
                <c:pt idx="49">
                  <c:v>507.86951896860791</c:v>
                </c:pt>
                <c:pt idx="50">
                  <c:v>518.73660153578555</c:v>
                </c:pt>
                <c:pt idx="51">
                  <c:v>530.35354240743573</c:v>
                </c:pt>
                <c:pt idx="52">
                  <c:v>542.64058769641974</c:v>
                </c:pt>
                <c:pt idx="53">
                  <c:v>555.52501068013066</c:v>
                </c:pt>
                <c:pt idx="54">
                  <c:v>568.93898414905323</c:v>
                </c:pt>
                <c:pt idx="55">
                  <c:v>582.81717761966001</c:v>
                </c:pt>
                <c:pt idx="56">
                  <c:v>597.09220204784174</c:v>
                </c:pt>
                <c:pt idx="57">
                  <c:v>611.69733023204617</c:v>
                </c:pt>
                <c:pt idx="58">
                  <c:v>626.56870199776404</c:v>
                </c:pt>
                <c:pt idx="59">
                  <c:v>641.64354146413734</c:v>
                </c:pt>
                <c:pt idx="60">
                  <c:v>656.86119974122164</c:v>
                </c:pt>
                <c:pt idx="61">
                  <c:v>672.16188686781379</c:v>
                </c:pt>
                <c:pt idx="62">
                  <c:v>687.48581547177525</c:v>
                </c:pt>
                <c:pt idx="63">
                  <c:v>702.77204346342205</c:v>
                </c:pt>
                <c:pt idx="64">
                  <c:v>717.9584854531422</c:v>
                </c:pt>
                <c:pt idx="65">
                  <c:v>732.9822994185954</c:v>
                </c:pt>
                <c:pt idx="66">
                  <c:v>747.77965743008758</c:v>
                </c:pt>
                <c:pt idx="67">
                  <c:v>762.2863100326183</c:v>
                </c:pt>
                <c:pt idx="68">
                  <c:v>776.43848049487372</c:v>
                </c:pt>
                <c:pt idx="69">
                  <c:v>790.17288588608801</c:v>
                </c:pt>
                <c:pt idx="70">
                  <c:v>803.42974940186821</c:v>
                </c:pt>
                <c:pt idx="71">
                  <c:v>816.15172008046704</c:v>
                </c:pt>
                <c:pt idx="72">
                  <c:v>828.28381224211114</c:v>
                </c:pt>
                <c:pt idx="73">
                  <c:v>839.7732201937082</c:v>
                </c:pt>
                <c:pt idx="74">
                  <c:v>850.57047891503214</c:v>
                </c:pt>
                <c:pt idx="75">
                  <c:v>860.62957301948666</c:v>
                </c:pt>
                <c:pt idx="76">
                  <c:v>869.90786780016515</c:v>
                </c:pt>
                <c:pt idx="77">
                  <c:v>878.36653999338841</c:v>
                </c:pt>
                <c:pt idx="78">
                  <c:v>885.97076930892047</c:v>
                </c:pt>
                <c:pt idx="79">
                  <c:v>892.68992401944138</c:v>
                </c:pt>
                <c:pt idx="80">
                  <c:v>898.49778083187175</c:v>
                </c:pt>
                <c:pt idx="81">
                  <c:v>903.37268732708003</c:v>
                </c:pt>
                <c:pt idx="82">
                  <c:v>907.29751873194584</c:v>
                </c:pt>
                <c:pt idx="83">
                  <c:v>910.26003382677902</c:v>
                </c:pt>
                <c:pt idx="84">
                  <c:v>912.25289819854265</c:v>
                </c:pt>
                <c:pt idx="85">
                  <c:v>913.27353877935911</c:v>
                </c:pt>
                <c:pt idx="86">
                  <c:v>913.32406942989621</c:v>
                </c:pt>
                <c:pt idx="87">
                  <c:v>912.41127889607787</c:v>
                </c:pt>
                <c:pt idx="88">
                  <c:v>910.54656905836828</c:v>
                </c:pt>
                <c:pt idx="89">
                  <c:v>907.74584476301197</c:v>
                </c:pt>
                <c:pt idx="90">
                  <c:v>904.02935206603934</c:v>
                </c:pt>
                <c:pt idx="91">
                  <c:v>899.42146953463146</c:v>
                </c:pt>
                <c:pt idx="92">
                  <c:v>893.95042916754517</c:v>
                </c:pt>
                <c:pt idx="93">
                  <c:v>887.648029502999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69.27189140395399</c:v>
                </c:pt>
                <c:pt idx="32">
                  <c:v>549.35324122160978</c:v>
                </c:pt>
                <c:pt idx="33">
                  <c:v>529.80381994284937</c:v>
                </c:pt>
                <c:pt idx="34">
                  <c:v>511.71086590589641</c:v>
                </c:pt>
                <c:pt idx="35">
                  <c:v>495.8085660424411</c:v>
                </c:pt>
                <c:pt idx="36">
                  <c:v>483.01744979678023</c:v>
                </c:pt>
                <c:pt idx="37">
                  <c:v>472.94632030177672</c:v>
                </c:pt>
                <c:pt idx="38">
                  <c:v>465.67637541743511</c:v>
                </c:pt>
                <c:pt idx="39">
                  <c:v>461.23527570048446</c:v>
                </c:pt>
                <c:pt idx="40">
                  <c:v>459.62066859811091</c:v>
                </c:pt>
                <c:pt idx="41">
                  <c:v>460.8001038713</c:v>
                </c:pt>
                <c:pt idx="42">
                  <c:v>464.71488579197472</c:v>
                </c:pt>
                <c:pt idx="43">
                  <c:v>471.2786572678213</c:v>
                </c:pt>
                <c:pt idx="44">
                  <c:v>480.39541771789374</c:v>
                </c:pt>
                <c:pt idx="45">
                  <c:v>491.95429980797729</c:v>
                </c:pt>
                <c:pt idx="46">
                  <c:v>505.8395826978574</c:v>
                </c:pt>
                <c:pt idx="47">
                  <c:v>521.93662976914095</c:v>
                </c:pt>
                <c:pt idx="48">
                  <c:v>540.10766929130966</c:v>
                </c:pt>
                <c:pt idx="49">
                  <c:v>560.16145257151334</c:v>
                </c:pt>
                <c:pt idx="50">
                  <c:v>581.89561770586874</c:v>
                </c:pt>
                <c:pt idx="51">
                  <c:v>605.12949944916909</c:v>
                </c:pt>
                <c:pt idx="52">
                  <c:v>629.70359002713678</c:v>
                </c:pt>
                <c:pt idx="53">
                  <c:v>655.47243599455874</c:v>
                </c:pt>
                <c:pt idx="54">
                  <c:v>682.30038293240409</c:v>
                </c:pt>
                <c:pt idx="55">
                  <c:v>710.05676987361767</c:v>
                </c:pt>
                <c:pt idx="56">
                  <c:v>738.60681872998077</c:v>
                </c:pt>
                <c:pt idx="57">
                  <c:v>767.81707509838998</c:v>
                </c:pt>
                <c:pt idx="58">
                  <c:v>797.55981862982549</c:v>
                </c:pt>
                <c:pt idx="59">
                  <c:v>827.70949756257244</c:v>
                </c:pt>
                <c:pt idx="60">
                  <c:v>858.14481411674092</c:v>
                </c:pt>
                <c:pt idx="61">
                  <c:v>888.74618836992499</c:v>
                </c:pt>
                <c:pt idx="62">
                  <c:v>919.39404557784815</c:v>
                </c:pt>
                <c:pt idx="63">
                  <c:v>949.96650156114185</c:v>
                </c:pt>
                <c:pt idx="64">
                  <c:v>980.33938554058193</c:v>
                </c:pt>
                <c:pt idx="65">
                  <c:v>1010.387013471488</c:v>
                </c:pt>
                <c:pt idx="66">
                  <c:v>1039.9817294944726</c:v>
                </c:pt>
                <c:pt idx="67">
                  <c:v>1068.995034699534</c:v>
                </c:pt>
                <c:pt idx="68">
                  <c:v>1097.2993756240448</c:v>
                </c:pt>
                <c:pt idx="69">
                  <c:v>1124.7681864064732</c:v>
                </c:pt>
                <c:pt idx="70">
                  <c:v>1151.2819134380336</c:v>
                </c:pt>
                <c:pt idx="71">
                  <c:v>1176.7258547952317</c:v>
                </c:pt>
                <c:pt idx="72">
                  <c:v>1200.9900391185199</c:v>
                </c:pt>
                <c:pt idx="73">
                  <c:v>1223.9688550217138</c:v>
                </c:pt>
                <c:pt idx="74">
                  <c:v>1245.5633724643617</c:v>
                </c:pt>
                <c:pt idx="75">
                  <c:v>1265.6815606732712</c:v>
                </c:pt>
                <c:pt idx="76">
                  <c:v>1284.2381502346277</c:v>
                </c:pt>
                <c:pt idx="77">
                  <c:v>1301.1554946210738</c:v>
                </c:pt>
                <c:pt idx="78">
                  <c:v>1316.3639532521386</c:v>
                </c:pt>
                <c:pt idx="79">
                  <c:v>1329.8022626731797</c:v>
                </c:pt>
                <c:pt idx="80">
                  <c:v>1341.4179762980409</c:v>
                </c:pt>
                <c:pt idx="81">
                  <c:v>1351.1677892884575</c:v>
                </c:pt>
                <c:pt idx="82">
                  <c:v>1359.0174520981891</c:v>
                </c:pt>
                <c:pt idx="83">
                  <c:v>1364.9424822878552</c:v>
                </c:pt>
                <c:pt idx="84">
                  <c:v>1368.9282110313825</c:v>
                </c:pt>
                <c:pt idx="85">
                  <c:v>1370.9694921930161</c:v>
                </c:pt>
                <c:pt idx="86">
                  <c:v>1371.0705534940898</c:v>
                </c:pt>
                <c:pt idx="87">
                  <c:v>1369.2449724264532</c:v>
                </c:pt>
                <c:pt idx="88">
                  <c:v>1365.5155527510335</c:v>
                </c:pt>
                <c:pt idx="89">
                  <c:v>1359.9141041603211</c:v>
                </c:pt>
                <c:pt idx="90">
                  <c:v>1352.4811187663763</c:v>
                </c:pt>
                <c:pt idx="91">
                  <c:v>1343.2653537035601</c:v>
                </c:pt>
                <c:pt idx="92">
                  <c:v>1332.3232729693873</c:v>
                </c:pt>
                <c:pt idx="93">
                  <c:v>1319.71847364029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707</c:v>
                </c:pt>
                <c:pt idx="1">
                  <c:v>1444</c:v>
                </c:pt>
                <c:pt idx="2">
                  <c:v>2102</c:v>
                </c:pt>
                <c:pt idx="3">
                  <c:v>2545</c:v>
                </c:pt>
                <c:pt idx="4">
                  <c:v>3008</c:v>
                </c:pt>
                <c:pt idx="5">
                  <c:v>3761</c:v>
                </c:pt>
                <c:pt idx="6">
                  <c:v>4410</c:v>
                </c:pt>
                <c:pt idx="7">
                  <c:v>5042</c:v>
                </c:pt>
                <c:pt idx="8">
                  <c:v>5614</c:v>
                </c:pt>
                <c:pt idx="9">
                  <c:v>6260</c:v>
                </c:pt>
                <c:pt idx="10">
                  <c:v>6641</c:v>
                </c:pt>
                <c:pt idx="11">
                  <c:v>6981</c:v>
                </c:pt>
                <c:pt idx="12">
                  <c:v>7631</c:v>
                </c:pt>
                <c:pt idx="13">
                  <c:v>8154</c:v>
                </c:pt>
                <c:pt idx="14">
                  <c:v>8641</c:v>
                </c:pt>
                <c:pt idx="15">
                  <c:v>9115</c:v>
                </c:pt>
                <c:pt idx="16">
                  <c:v>9590</c:v>
                </c:pt>
                <c:pt idx="17">
                  <c:v>9830</c:v>
                </c:pt>
                <c:pt idx="18">
                  <c:v>10102</c:v>
                </c:pt>
                <c:pt idx="19">
                  <c:v>10539</c:v>
                </c:pt>
                <c:pt idx="20">
                  <c:v>10952</c:v>
                </c:pt>
                <c:pt idx="21">
                  <c:v>11303</c:v>
                </c:pt>
                <c:pt idx="22">
                  <c:v>11595</c:v>
                </c:pt>
                <c:pt idx="23">
                  <c:v>11780</c:v>
                </c:pt>
                <c:pt idx="24">
                  <c:v>11971</c:v>
                </c:pt>
                <c:pt idx="25">
                  <c:v>12197</c:v>
                </c:pt>
                <c:pt idx="26">
                  <c:v>12579</c:v>
                </c:pt>
                <c:pt idx="27">
                  <c:v>12906</c:v>
                </c:pt>
                <c:pt idx="28">
                  <c:v>13234</c:v>
                </c:pt>
                <c:pt idx="29">
                  <c:v>13495</c:v>
                </c:pt>
                <c:pt idx="30">
                  <c:v>13733</c:v>
                </c:pt>
                <c:pt idx="31">
                  <c:v>13901</c:v>
                </c:pt>
                <c:pt idx="32">
                  <c:v>14067</c:v>
                </c:pt>
                <c:pt idx="33">
                  <c:v>14346</c:v>
                </c:pt>
                <c:pt idx="34">
                  <c:v>14623</c:v>
                </c:pt>
                <c:pt idx="35">
                  <c:v>14875</c:v>
                </c:pt>
                <c:pt idx="36">
                  <c:v>15079</c:v>
                </c:pt>
                <c:pt idx="37">
                  <c:v>15275</c:v>
                </c:pt>
                <c:pt idx="38">
                  <c:v>15429</c:v>
                </c:pt>
                <c:pt idx="39">
                  <c:v>15542</c:v>
                </c:pt>
                <c:pt idx="40">
                  <c:v>15723</c:v>
                </c:pt>
                <c:pt idx="41">
                  <c:v>15904</c:v>
                </c:pt>
                <c:pt idx="42">
                  <c:v>16044</c:v>
                </c:pt>
                <c:pt idx="43">
                  <c:v>16196</c:v>
                </c:pt>
                <c:pt idx="44">
                  <c:v>16330</c:v>
                </c:pt>
                <c:pt idx="45">
                  <c:v>16422</c:v>
                </c:pt>
                <c:pt idx="46">
                  <c:v>16514</c:v>
                </c:pt>
                <c:pt idx="47">
                  <c:v>16718</c:v>
                </c:pt>
                <c:pt idx="48">
                  <c:v>16917</c:v>
                </c:pt>
                <c:pt idx="49">
                  <c:v>17128</c:v>
                </c:pt>
                <c:pt idx="50">
                  <c:v>17363</c:v>
                </c:pt>
                <c:pt idx="51">
                  <c:v>17606</c:v>
                </c:pt>
                <c:pt idx="52">
                  <c:v>17776</c:v>
                </c:pt>
                <c:pt idx="53">
                  <c:v>17981</c:v>
                </c:pt>
                <c:pt idx="54">
                  <c:v>18333</c:v>
                </c:pt>
                <c:pt idx="55">
                  <c:v>18674</c:v>
                </c:pt>
                <c:pt idx="56">
                  <c:v>19038</c:v>
                </c:pt>
                <c:pt idx="57">
                  <c:v>19446</c:v>
                </c:pt>
                <c:pt idx="58">
                  <c:v>19863</c:v>
                </c:pt>
                <c:pt idx="59">
                  <c:v>20130</c:v>
                </c:pt>
                <c:pt idx="60">
                  <c:v>20436</c:v>
                </c:pt>
                <c:pt idx="61">
                  <c:v>21008</c:v>
                </c:pt>
                <c:pt idx="62">
                  <c:v>21642</c:v>
                </c:pt>
                <c:pt idx="63">
                  <c:v>22225</c:v>
                </c:pt>
                <c:pt idx="64">
                  <c:v>22752</c:v>
                </c:pt>
                <c:pt idx="65">
                  <c:v>23299</c:v>
                </c:pt>
                <c:pt idx="66">
                  <c:v>23654</c:v>
                </c:pt>
                <c:pt idx="67">
                  <c:v>23978</c:v>
                </c:pt>
                <c:pt idx="68">
                  <c:v>24752</c:v>
                </c:pt>
                <c:pt idx="69">
                  <c:v>25404</c:v>
                </c:pt>
                <c:pt idx="70">
                  <c:v>26069</c:v>
                </c:pt>
                <c:pt idx="71">
                  <c:v>26668</c:v>
                </c:pt>
                <c:pt idx="72">
                  <c:v>27244</c:v>
                </c:pt>
                <c:pt idx="73">
                  <c:v>27564</c:v>
                </c:pt>
                <c:pt idx="74">
                  <c:v>27886</c:v>
                </c:pt>
                <c:pt idx="75">
                  <c:v>28590</c:v>
                </c:pt>
                <c:pt idx="76">
                  <c:v>29169</c:v>
                </c:pt>
                <c:pt idx="77">
                  <c:v>29726</c:v>
                </c:pt>
                <c:pt idx="78">
                  <c:v>30221</c:v>
                </c:pt>
                <c:pt idx="79">
                  <c:v>30678</c:v>
                </c:pt>
                <c:pt idx="80">
                  <c:v>30948</c:v>
                </c:pt>
                <c:pt idx="81">
                  <c:v>31231</c:v>
                </c:pt>
                <c:pt idx="82">
                  <c:v>31795</c:v>
                </c:pt>
                <c:pt idx="83">
                  <c:v>32261</c:v>
                </c:pt>
                <c:pt idx="84">
                  <c:v>32715</c:v>
                </c:pt>
                <c:pt idx="85">
                  <c:v>33109</c:v>
                </c:pt>
                <c:pt idx="86">
                  <c:v>33458</c:v>
                </c:pt>
                <c:pt idx="87">
                  <c:v>33680</c:v>
                </c:pt>
                <c:pt idx="88">
                  <c:v>33902</c:v>
                </c:pt>
                <c:pt idx="89">
                  <c:v>34329</c:v>
                </c:pt>
                <c:pt idx="90">
                  <c:v>34662</c:v>
                </c:pt>
                <c:pt idx="91">
                  <c:v>34938</c:v>
                </c:pt>
                <c:pt idx="92">
                  <c:v>35229</c:v>
                </c:pt>
                <c:pt idx="93">
                  <c:v>354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3913.436809286808</c:v>
                </c:pt>
                <c:pt idx="32">
                  <c:v>14176.091239383984</c:v>
                </c:pt>
                <c:pt idx="33">
                  <c:v>14428.262970881591</c:v>
                </c:pt>
                <c:pt idx="34">
                  <c:v>14670.252680457201</c:v>
                </c:pt>
                <c:pt idx="35">
                  <c:v>14902.361039160181</c:v>
                </c:pt>
                <c:pt idx="36">
                  <c:v>15125.138809059201</c:v>
                </c:pt>
                <c:pt idx="37">
                  <c:v>15338.864030289309</c:v>
                </c:pt>
                <c:pt idx="38">
                  <c:v>15543.813598224999</c:v>
                </c:pt>
                <c:pt idx="39">
                  <c:v>15740.2626110726</c:v>
                </c:pt>
                <c:pt idx="40">
                  <c:v>15928.483785638065</c:v>
                </c:pt>
                <c:pt idx="41">
                  <c:v>16110.816738009051</c:v>
                </c:pt>
                <c:pt idx="42">
                  <c:v>16289.005134295609</c:v>
                </c:pt>
                <c:pt idx="43">
                  <c:v>16464.116333377056</c:v>
                </c:pt>
                <c:pt idx="44">
                  <c:v>16636.834858266091</c:v>
                </c:pt>
                <c:pt idx="45">
                  <c:v>16807.634739918227</c:v>
                </c:pt>
                <c:pt idx="46">
                  <c:v>16976.877149797183</c:v>
                </c:pt>
                <c:pt idx="47">
                  <c:v>17144.852698859104</c:v>
                </c:pt>
                <c:pt idx="48">
                  <c:v>17311.796313569561</c:v>
                </c:pt>
                <c:pt idx="49">
                  <c:v>17477.889734037806</c:v>
                </c:pt>
                <c:pt idx="50">
                  <c:v>17643.245748240981</c:v>
                </c:pt>
                <c:pt idx="51">
                  <c:v>17807.935276977762</c:v>
                </c:pt>
                <c:pt idx="52">
                  <c:v>17971.994748782807</c:v>
                </c:pt>
                <c:pt idx="53">
                  <c:v>18135.430602294029</c:v>
                </c:pt>
                <c:pt idx="54">
                  <c:v>18298.230679390883</c:v>
                </c:pt>
                <c:pt idx="55">
                  <c:v>18460.3680589961</c:v>
                </c:pt>
                <c:pt idx="56">
                  <c:v>18621.804286632327</c:v>
                </c:pt>
                <c:pt idx="57">
                  <c:v>18782.497786662581</c:v>
                </c:pt>
                <c:pt idx="58">
                  <c:v>18942.396197633334</c:v>
                </c:pt>
                <c:pt idx="59">
                  <c:v>19101.442591541581</c:v>
                </c:pt>
                <c:pt idx="60">
                  <c:v>19259.577098276375</c:v>
                </c:pt>
                <c:pt idx="61">
                  <c:v>19416.739221160897</c:v>
                </c:pt>
                <c:pt idx="62">
                  <c:v>19572.869136395584</c:v>
                </c:pt>
                <c:pt idx="63">
                  <c:v>19727.908297541951</c:v>
                </c:pt>
                <c:pt idx="64">
                  <c:v>19881.800645436902</c:v>
                </c:pt>
                <c:pt idx="65">
                  <c:v>20034.490004136507</c:v>
                </c:pt>
                <c:pt idx="66">
                  <c:v>20185.921090361739</c:v>
                </c:pt>
                <c:pt idx="67">
                  <c:v>20336.042956124602</c:v>
                </c:pt>
                <c:pt idx="68">
                  <c:v>20484.806442534817</c:v>
                </c:pt>
                <c:pt idx="69">
                  <c:v>20632.162519164405</c:v>
                </c:pt>
                <c:pt idx="70">
                  <c:v>20778.071447721795</c:v>
                </c:pt>
                <c:pt idx="71">
                  <c:v>20922.500375121192</c:v>
                </c:pt>
                <c:pt idx="72">
                  <c:v>21065.419263006024</c:v>
                </c:pt>
                <c:pt idx="73">
                  <c:v>21206.800959175776</c:v>
                </c:pt>
                <c:pt idx="74">
                  <c:v>21346.621210128851</c:v>
                </c:pt>
                <c:pt idx="75">
                  <c:v>21484.858643930424</c:v>
                </c:pt>
                <c:pt idx="76">
                  <c:v>21621.494714877728</c:v>
                </c:pt>
                <c:pt idx="77">
                  <c:v>21756.513580058745</c:v>
                </c:pt>
                <c:pt idx="78">
                  <c:v>21889.901919012766</c:v>
                </c:pt>
                <c:pt idx="79">
                  <c:v>22021.64866075333</c:v>
                </c:pt>
                <c:pt idx="80">
                  <c:v>22151.744780828456</c:v>
                </c:pt>
                <c:pt idx="81">
                  <c:v>22280.183115694959</c:v>
                </c:pt>
                <c:pt idx="82">
                  <c:v>22406.958190592726</c:v>
                </c:pt>
                <c:pt idx="83">
                  <c:v>22532.066080530265</c:v>
                </c:pt>
                <c:pt idx="84">
                  <c:v>22655.504281745067</c:v>
                </c:pt>
                <c:pt idx="85">
                  <c:v>22777.271601160635</c:v>
                </c:pt>
                <c:pt idx="86">
                  <c:v>22897.368074442638</c:v>
                </c:pt>
                <c:pt idx="87">
                  <c:v>23015.794863155297</c:v>
                </c:pt>
                <c:pt idx="88">
                  <c:v>23132.554176407612</c:v>
                </c:pt>
                <c:pt idx="89">
                  <c:v>23247.649200813914</c:v>
                </c:pt>
                <c:pt idx="90">
                  <c:v>23361.084040932728</c:v>
                </c:pt>
                <c:pt idx="91">
                  <c:v>23472.863665580018</c:v>
                </c:pt>
                <c:pt idx="92">
                  <c:v>23582.993859549842</c:v>
                </c:pt>
                <c:pt idx="93">
                  <c:v>23691.4811846877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3913.436809286808</c:v>
                </c:pt>
                <c:pt idx="32">
                  <c:v>14176.091239383984</c:v>
                </c:pt>
                <c:pt idx="33">
                  <c:v>14428.262970881591</c:v>
                </c:pt>
                <c:pt idx="34">
                  <c:v>14673.781825036795</c:v>
                </c:pt>
                <c:pt idx="35">
                  <c:v>14919.706091008778</c:v>
                </c:pt>
                <c:pt idx="36">
                  <c:v>15168.479115361702</c:v>
                </c:pt>
                <c:pt idx="37">
                  <c:v>15421.18156905634</c:v>
                </c:pt>
                <c:pt idx="38">
                  <c:v>15678.635974676739</c:v>
                </c:pt>
                <c:pt idx="39">
                  <c:v>15941.547694428054</c:v>
                </c:pt>
                <c:pt idx="40">
                  <c:v>16210.555739290754</c:v>
                </c:pt>
                <c:pt idx="41">
                  <c:v>16486.245258099789</c:v>
                </c:pt>
                <c:pt idx="42">
                  <c:v>16769.142817860215</c:v>
                </c:pt>
                <c:pt idx="43">
                  <c:v>17059.683419689158</c:v>
                </c:pt>
                <c:pt idx="44">
                  <c:v>17358.249206000626</c:v>
                </c:pt>
                <c:pt idx="45">
                  <c:v>17665.174587530179</c:v>
                </c:pt>
                <c:pt idx="46">
                  <c:v>17980.747449101265</c:v>
                </c:pt>
                <c:pt idx="47">
                  <c:v>18305.222923179761</c:v>
                </c:pt>
                <c:pt idx="48">
                  <c:v>18638.824895300582</c:v>
                </c:pt>
                <c:pt idx="49">
                  <c:v>18981.74647081663</c:v>
                </c:pt>
                <c:pt idx="50">
                  <c:v>19334.16008803665</c:v>
                </c:pt>
                <c:pt idx="51">
                  <c:v>19696.200831546426</c:v>
                </c:pt>
                <c:pt idx="52">
                  <c:v>20067.973420299659</c:v>
                </c:pt>
                <c:pt idx="53">
                  <c:v>20449.551490413902</c:v>
                </c:pt>
                <c:pt idx="54">
                  <c:v>20840.978304122778</c:v>
                </c:pt>
                <c:pt idx="55">
                  <c:v>21242.266107431744</c:v>
                </c:pt>
                <c:pt idx="56">
                  <c:v>21653.394434116661</c:v>
                </c:pt>
                <c:pt idx="57">
                  <c:v>22074.30953680582</c:v>
                </c:pt>
                <c:pt idx="58">
                  <c:v>22504.918131920076</c:v>
                </c:pt>
                <c:pt idx="59">
                  <c:v>22945.087284319441</c:v>
                </c:pt>
                <c:pt idx="60">
                  <c:v>23394.648579096443</c:v>
                </c:pt>
                <c:pt idx="61">
                  <c:v>23853.3926325506</c:v>
                </c:pt>
                <c:pt idx="62">
                  <c:v>24321.065360870358</c:v>
                </c:pt>
                <c:pt idx="63">
                  <c:v>24797.372962540176</c:v>
                </c:pt>
                <c:pt idx="64">
                  <c:v>25281.980019485109</c:v>
                </c:pt>
                <c:pt idx="65">
                  <c:v>25774.506177300646</c:v>
                </c:pt>
                <c:pt idx="66">
                  <c:v>26274.528603480649</c:v>
                </c:pt>
                <c:pt idx="67">
                  <c:v>26781.583934178176</c:v>
                </c:pt>
                <c:pt idx="68">
                  <c:v>27295.170240191495</c:v>
                </c:pt>
                <c:pt idx="69">
                  <c:v>27814.749238983863</c:v>
                </c:pt>
                <c:pt idx="70">
                  <c:v>28339.769005621409</c:v>
                </c:pt>
                <c:pt idx="71">
                  <c:v>28869.662097755474</c:v>
                </c:pt>
                <c:pt idx="72">
                  <c:v>29403.843372655094</c:v>
                </c:pt>
                <c:pt idx="73">
                  <c:v>29941.710655629286</c:v>
                </c:pt>
                <c:pt idx="74">
                  <c:v>30482.646958464939</c:v>
                </c:pt>
                <c:pt idx="75">
                  <c:v>31026.023503136261</c:v>
                </c:pt>
                <c:pt idx="76">
                  <c:v>31571.203078864542</c:v>
                </c:pt>
                <c:pt idx="77">
                  <c:v>32117.543445937357</c:v>
                </c:pt>
                <c:pt idx="78">
                  <c:v>32664.400684865017</c:v>
                </c:pt>
                <c:pt idx="79">
                  <c:v>33211.132292803988</c:v>
                </c:pt>
                <c:pt idx="80">
                  <c:v>33757.100467959506</c:v>
                </c:pt>
                <c:pt idx="81">
                  <c:v>34301.675364742499</c:v>
                </c:pt>
                <c:pt idx="82">
                  <c:v>34844.238266721855</c:v>
                </c:pt>
                <c:pt idx="83">
                  <c:v>35384.184710533635</c:v>
                </c:pt>
                <c:pt idx="84">
                  <c:v>35920.92745678599</c:v>
                </c:pt>
                <c:pt idx="85">
                  <c:v>36453.899292682596</c:v>
                </c:pt>
                <c:pt idx="86">
                  <c:v>36982.55568369932</c:v>
                </c:pt>
                <c:pt idx="87">
                  <c:v>37506.377092223367</c:v>
                </c:pt>
                <c:pt idx="88">
                  <c:v>38024.871088240907</c:v>
                </c:pt>
                <c:pt idx="89">
                  <c:v>38537.574189098581</c:v>
                </c:pt>
                <c:pt idx="90">
                  <c:v>39044.053426758415</c:v>
                </c:pt>
                <c:pt idx="91">
                  <c:v>39543.90762568386</c:v>
                </c:pt>
                <c:pt idx="92">
                  <c:v>40036.7683880482</c:v>
                </c:pt>
                <c:pt idx="93">
                  <c:v>40522.3008008248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3913.436809286808</c:v>
                </c:pt>
                <c:pt idx="32">
                  <c:v>14176.091239383984</c:v>
                </c:pt>
                <c:pt idx="33">
                  <c:v>14428.262970881591</c:v>
                </c:pt>
                <c:pt idx="34">
                  <c:v>14677.310969616387</c:v>
                </c:pt>
                <c:pt idx="35">
                  <c:v>14928.555540445244</c:v>
                </c:pt>
                <c:pt idx="36">
                  <c:v>15185.497628035959</c:v>
                </c:pt>
                <c:pt idx="37">
                  <c:v>15450.298574310202</c:v>
                </c:pt>
                <c:pt idx="38">
                  <c:v>15724.603424435865</c:v>
                </c:pt>
                <c:pt idx="39">
                  <c:v>16009.822902823411</c:v>
                </c:pt>
                <c:pt idx="40">
                  <c:v>16307.235031433727</c:v>
                </c:pt>
                <c:pt idx="41">
                  <c:v>16618.010107936712</c:v>
                </c:pt>
                <c:pt idx="42">
                  <c:v>16943.201266342476</c:v>
                </c:pt>
                <c:pt idx="43">
                  <c:v>17283.678508885278</c:v>
                </c:pt>
                <c:pt idx="44">
                  <c:v>17640.206120393155</c:v>
                </c:pt>
                <c:pt idx="45">
                  <c:v>18013.452922337201</c:v>
                </c:pt>
                <c:pt idx="46">
                  <c:v>18403.994684364239</c:v>
                </c:pt>
                <c:pt idx="47">
                  <c:v>18812.341671406146</c:v>
                </c:pt>
                <c:pt idx="48">
                  <c:v>19238.941654532708</c:v>
                </c:pt>
                <c:pt idx="49">
                  <c:v>19684.180844449773</c:v>
                </c:pt>
                <c:pt idx="50">
                  <c:v>20148.404117774731</c:v>
                </c:pt>
                <c:pt idx="51">
                  <c:v>20631.881643679175</c:v>
                </c:pt>
                <c:pt idx="52">
                  <c:v>21134.82286007053</c:v>
                </c:pt>
                <c:pt idx="53">
                  <c:v>21657.375039183957</c:v>
                </c:pt>
                <c:pt idx="54">
                  <c:v>22199.6247054866</c:v>
                </c:pt>
                <c:pt idx="55">
                  <c:v>22761.596350989475</c:v>
                </c:pt>
                <c:pt idx="56">
                  <c:v>23343.249043244225</c:v>
                </c:pt>
                <c:pt idx="57">
                  <c:v>23944.475287507434</c:v>
                </c:pt>
                <c:pt idx="58">
                  <c:v>24565.088516620886</c:v>
                </c:pt>
                <c:pt idx="59">
                  <c:v>25204.822860304532</c:v>
                </c:pt>
                <c:pt idx="60">
                  <c:v>25863.341488743448</c:v>
                </c:pt>
                <c:pt idx="61">
                  <c:v>26540.225634536677</c:v>
                </c:pt>
                <c:pt idx="62">
                  <c:v>27234.967130061108</c:v>
                </c:pt>
                <c:pt idx="63">
                  <c:v>27946.978372285637</c:v>
                </c:pt>
                <c:pt idx="64">
                  <c:v>28675.588525060444</c:v>
                </c:pt>
                <c:pt idx="65">
                  <c:v>29420.036879576412</c:v>
                </c:pt>
                <c:pt idx="66">
                  <c:v>30179.477770821359</c:v>
                </c:pt>
                <c:pt idx="67">
                  <c:v>30952.984471101328</c:v>
                </c:pt>
                <c:pt idx="68">
                  <c:v>31739.553122012858</c:v>
                </c:pt>
                <c:pt idx="69">
                  <c:v>32538.107158482533</c:v>
                </c:pt>
                <c:pt idx="70">
                  <c:v>33347.542730642541</c:v>
                </c:pt>
                <c:pt idx="71">
                  <c:v>34166.724953795558</c:v>
                </c:pt>
                <c:pt idx="72">
                  <c:v>34994.483542479713</c:v>
                </c:pt>
                <c:pt idx="73">
                  <c:v>35829.614147312983</c:v>
                </c:pt>
                <c:pt idx="74">
                  <c:v>36670.882791869204</c:v>
                </c:pt>
                <c:pt idx="75">
                  <c:v>37517.031920096793</c:v>
                </c:pt>
                <c:pt idx="76">
                  <c:v>38366.787110438272</c:v>
                </c:pt>
                <c:pt idx="77">
                  <c:v>39218.863883468846</c:v>
                </c:pt>
                <c:pt idx="78">
                  <c:v>40071.974400209088</c:v>
                </c:pt>
                <c:pt idx="79">
                  <c:v>40924.833654971924</c:v>
                </c:pt>
                <c:pt idx="80">
                  <c:v>41776.166044167876</c:v>
                </c:pt>
                <c:pt idx="81">
                  <c:v>42624.711876618785</c:v>
                </c:pt>
                <c:pt idx="82">
                  <c:v>43469.233719462412</c:v>
                </c:pt>
                <c:pt idx="83">
                  <c:v>44308.522645970879</c:v>
                </c:pt>
                <c:pt idx="84">
                  <c:v>45141.404177360557</c:v>
                </c:pt>
                <c:pt idx="85">
                  <c:v>45966.74388803864</c:v>
                </c:pt>
                <c:pt idx="86">
                  <c:v>46783.452708957055</c:v>
                </c:pt>
                <c:pt idx="87">
                  <c:v>47590.491564890042</c:v>
                </c:pt>
                <c:pt idx="88">
                  <c:v>48386.875595810008</c:v>
                </c:pt>
                <c:pt idx="89">
                  <c:v>49171.677836410272</c:v>
                </c:pt>
                <c:pt idx="90">
                  <c:v>49944.032350614849</c:v>
                </c:pt>
                <c:pt idx="91">
                  <c:v>50703.136787350646</c:v>
                </c:pt>
                <c:pt idx="92">
                  <c:v>51448.254350964235</c:v>
                </c:pt>
                <c:pt idx="93">
                  <c:v>52178.7152154024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76</c:v>
                </c:pt>
                <c:pt idx="1">
                  <c:v>140</c:v>
                </c:pt>
                <c:pt idx="2">
                  <c:v>206</c:v>
                </c:pt>
                <c:pt idx="3">
                  <c:v>273</c:v>
                </c:pt>
                <c:pt idx="4">
                  <c:v>322</c:v>
                </c:pt>
                <c:pt idx="5">
                  <c:v>391</c:v>
                </c:pt>
                <c:pt idx="6">
                  <c:v>444</c:v>
                </c:pt>
                <c:pt idx="7">
                  <c:v>491</c:v>
                </c:pt>
                <c:pt idx="8">
                  <c:v>554</c:v>
                </c:pt>
                <c:pt idx="9">
                  <c:v>626</c:v>
                </c:pt>
                <c:pt idx="10">
                  <c:v>677</c:v>
                </c:pt>
                <c:pt idx="11">
                  <c:v>717</c:v>
                </c:pt>
                <c:pt idx="12">
                  <c:v>808</c:v>
                </c:pt>
                <c:pt idx="13">
                  <c:v>871</c:v>
                </c:pt>
                <c:pt idx="14">
                  <c:v>928</c:v>
                </c:pt>
                <c:pt idx="15">
                  <c:v>981</c:v>
                </c:pt>
                <c:pt idx="16">
                  <c:v>1036</c:v>
                </c:pt>
                <c:pt idx="17">
                  <c:v>1058</c:v>
                </c:pt>
                <c:pt idx="18">
                  <c:v>1087</c:v>
                </c:pt>
                <c:pt idx="19">
                  <c:v>1131</c:v>
                </c:pt>
                <c:pt idx="20">
                  <c:v>1176</c:v>
                </c:pt>
                <c:pt idx="21">
                  <c:v>1240</c:v>
                </c:pt>
                <c:pt idx="22">
                  <c:v>1267</c:v>
                </c:pt>
                <c:pt idx="23">
                  <c:v>1286</c:v>
                </c:pt>
                <c:pt idx="24">
                  <c:v>1307</c:v>
                </c:pt>
                <c:pt idx="25">
                  <c:v>1330</c:v>
                </c:pt>
                <c:pt idx="26">
                  <c:v>1359</c:v>
                </c:pt>
                <c:pt idx="27">
                  <c:v>1389</c:v>
                </c:pt>
                <c:pt idx="28">
                  <c:v>1437</c:v>
                </c:pt>
                <c:pt idx="29">
                  <c:v>1467</c:v>
                </c:pt>
                <c:pt idx="30">
                  <c:v>1481</c:v>
                </c:pt>
                <c:pt idx="31">
                  <c:v>1492</c:v>
                </c:pt>
                <c:pt idx="32">
                  <c:v>1517</c:v>
                </c:pt>
                <c:pt idx="33">
                  <c:v>1549</c:v>
                </c:pt>
                <c:pt idx="34">
                  <c:v>1570</c:v>
                </c:pt>
                <c:pt idx="35">
                  <c:v>1604</c:v>
                </c:pt>
                <c:pt idx="36">
                  <c:v>1630</c:v>
                </c:pt>
                <c:pt idx="37">
                  <c:v>1649</c:v>
                </c:pt>
                <c:pt idx="38">
                  <c:v>1671</c:v>
                </c:pt>
                <c:pt idx="39">
                  <c:v>1687</c:v>
                </c:pt>
                <c:pt idx="40">
                  <c:v>1713</c:v>
                </c:pt>
                <c:pt idx="41">
                  <c:v>1733</c:v>
                </c:pt>
                <c:pt idx="42">
                  <c:v>1754</c:v>
                </c:pt>
                <c:pt idx="43">
                  <c:v>1772</c:v>
                </c:pt>
                <c:pt idx="44">
                  <c:v>1792</c:v>
                </c:pt>
                <c:pt idx="45">
                  <c:v>1802</c:v>
                </c:pt>
                <c:pt idx="46">
                  <c:v>1813</c:v>
                </c:pt>
                <c:pt idx="47">
                  <c:v>1845</c:v>
                </c:pt>
                <c:pt idx="48">
                  <c:v>1884</c:v>
                </c:pt>
                <c:pt idx="49">
                  <c:v>1917</c:v>
                </c:pt>
                <c:pt idx="50">
                  <c:v>1945</c:v>
                </c:pt>
                <c:pt idx="51">
                  <c:v>1987</c:v>
                </c:pt>
                <c:pt idx="52">
                  <c:v>2031</c:v>
                </c:pt>
                <c:pt idx="53">
                  <c:v>2075</c:v>
                </c:pt>
                <c:pt idx="54">
                  <c:v>2145</c:v>
                </c:pt>
                <c:pt idx="55">
                  <c:v>2209</c:v>
                </c:pt>
                <c:pt idx="56">
                  <c:v>2272</c:v>
                </c:pt>
                <c:pt idx="57">
                  <c:v>2325</c:v>
                </c:pt>
                <c:pt idx="58">
                  <c:v>2376</c:v>
                </c:pt>
                <c:pt idx="59">
                  <c:v>2416</c:v>
                </c:pt>
                <c:pt idx="60">
                  <c:v>2468</c:v>
                </c:pt>
                <c:pt idx="61">
                  <c:v>2556</c:v>
                </c:pt>
                <c:pt idx="62">
                  <c:v>2637</c:v>
                </c:pt>
                <c:pt idx="63">
                  <c:v>2706</c:v>
                </c:pt>
                <c:pt idx="64">
                  <c:v>2781</c:v>
                </c:pt>
                <c:pt idx="65">
                  <c:v>2848</c:v>
                </c:pt>
                <c:pt idx="66">
                  <c:v>2890</c:v>
                </c:pt>
                <c:pt idx="67">
                  <c:v>2932</c:v>
                </c:pt>
                <c:pt idx="68">
                  <c:v>3041</c:v>
                </c:pt>
                <c:pt idx="69">
                  <c:v>3112</c:v>
                </c:pt>
                <c:pt idx="70">
                  <c:v>3174</c:v>
                </c:pt>
                <c:pt idx="71">
                  <c:v>3237</c:v>
                </c:pt>
                <c:pt idx="72">
                  <c:v>3304</c:v>
                </c:pt>
                <c:pt idx="73">
                  <c:v>3344</c:v>
                </c:pt>
                <c:pt idx="74">
                  <c:v>3397</c:v>
                </c:pt>
                <c:pt idx="75">
                  <c:v>3457</c:v>
                </c:pt>
                <c:pt idx="76">
                  <c:v>3520</c:v>
                </c:pt>
                <c:pt idx="77">
                  <c:v>3582</c:v>
                </c:pt>
                <c:pt idx="78">
                  <c:v>3635</c:v>
                </c:pt>
                <c:pt idx="79">
                  <c:v>3687</c:v>
                </c:pt>
                <c:pt idx="80">
                  <c:v>3725</c:v>
                </c:pt>
                <c:pt idx="81">
                  <c:v>3759</c:v>
                </c:pt>
                <c:pt idx="82">
                  <c:v>3811</c:v>
                </c:pt>
                <c:pt idx="83">
                  <c:v>3866</c:v>
                </c:pt>
                <c:pt idx="84">
                  <c:v>3926</c:v>
                </c:pt>
                <c:pt idx="85">
                  <c:v>3977</c:v>
                </c:pt>
                <c:pt idx="86">
                  <c:v>4014</c:v>
                </c:pt>
                <c:pt idx="87">
                  <c:v>4043</c:v>
                </c:pt>
                <c:pt idx="88">
                  <c:v>4063</c:v>
                </c:pt>
                <c:pt idx="89">
                  <c:v>4099</c:v>
                </c:pt>
                <c:pt idx="90">
                  <c:v>4130</c:v>
                </c:pt>
                <c:pt idx="91">
                  <c:v>4165</c:v>
                </c:pt>
                <c:pt idx="92">
                  <c:v>4196</c:v>
                </c:pt>
                <c:pt idx="93">
                  <c:v>4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507.7945243616969</c:v>
                </c:pt>
                <c:pt idx="32">
                  <c:v>1540.2564359813439</c:v>
                </c:pt>
                <c:pt idx="33">
                  <c:v>1571.4227728971921</c:v>
                </c:pt>
                <c:pt idx="34">
                  <c:v>1601.3306962556564</c:v>
                </c:pt>
                <c:pt idx="35">
                  <c:v>1630.0173665075529</c:v>
                </c:pt>
                <c:pt idx="36">
                  <c:v>1657.5508532818228</c:v>
                </c:pt>
                <c:pt idx="37">
                  <c:v>1683.9655200357563</c:v>
                </c:pt>
                <c:pt idx="38">
                  <c:v>1709.2955887437226</c:v>
                </c:pt>
                <c:pt idx="39">
                  <c:v>1733.5750592649938</c:v>
                </c:pt>
                <c:pt idx="40">
                  <c:v>1756.8376371374848</c:v>
                </c:pt>
                <c:pt idx="41">
                  <c:v>1779.3724795272603</c:v>
                </c:pt>
                <c:pt idx="42">
                  <c:v>1801.395089120256</c:v>
                </c:pt>
                <c:pt idx="43">
                  <c:v>1823.0373826315031</c:v>
                </c:pt>
                <c:pt idx="44">
                  <c:v>1844.3839614344924</c:v>
                </c:pt>
                <c:pt idx="45">
                  <c:v>1865.4934118282529</c:v>
                </c:pt>
                <c:pt idx="46">
                  <c:v>1886.4103716136033</c:v>
                </c:pt>
                <c:pt idx="47">
                  <c:v>1907.1707578971786</c:v>
                </c:pt>
                <c:pt idx="48">
                  <c:v>1927.8036056438939</c:v>
                </c:pt>
                <c:pt idx="49">
                  <c:v>1948.3313764256404</c:v>
                </c:pt>
                <c:pt idx="50">
                  <c:v>1968.7680099020095</c:v>
                </c:pt>
                <c:pt idx="51">
                  <c:v>1989.1222712961794</c:v>
                </c:pt>
                <c:pt idx="52">
                  <c:v>2009.398662873245</c:v>
                </c:pt>
                <c:pt idx="53">
                  <c:v>2029.5979803955115</c:v>
                </c:pt>
                <c:pt idx="54">
                  <c:v>2049.7187212200029</c:v>
                </c:pt>
                <c:pt idx="55">
                  <c:v>2069.7575581245942</c:v>
                </c:pt>
                <c:pt idx="56">
                  <c:v>2089.7097384544577</c:v>
                </c:pt>
                <c:pt idx="57">
                  <c:v>2109.5701238052925</c:v>
                </c:pt>
                <c:pt idx="58">
                  <c:v>2129.3322427352268</c:v>
                </c:pt>
                <c:pt idx="59">
                  <c:v>2148.9890594147055</c:v>
                </c:pt>
                <c:pt idx="60">
                  <c:v>2168.5331743940042</c:v>
                </c:pt>
                <c:pt idx="61">
                  <c:v>2187.9571107850484</c:v>
                </c:pt>
                <c:pt idx="62">
                  <c:v>2207.2534748618177</c:v>
                </c:pt>
                <c:pt idx="63">
                  <c:v>2226.4150307695386</c:v>
                </c:pt>
                <c:pt idx="64">
                  <c:v>2245.4348500600699</c:v>
                </c:pt>
                <c:pt idx="65">
                  <c:v>2264.3059898521278</c:v>
                </c:pt>
                <c:pt idx="66">
                  <c:v>2283.0216175904147</c:v>
                </c:pt>
                <c:pt idx="67">
                  <c:v>2301.5754365256885</c:v>
                </c:pt>
                <c:pt idx="68">
                  <c:v>2319.9613710263638</c:v>
                </c:pt>
                <c:pt idx="69">
                  <c:v>2338.1733613377319</c:v>
                </c:pt>
                <c:pt idx="70">
                  <c:v>2356.2064961361625</c:v>
                </c:pt>
                <c:pt idx="71">
                  <c:v>2374.0567150524207</c:v>
                </c:pt>
                <c:pt idx="72">
                  <c:v>2391.7203055944847</c:v>
                </c:pt>
                <c:pt idx="73">
                  <c:v>2409.193911975311</c:v>
                </c:pt>
                <c:pt idx="74">
                  <c:v>2426.4745366630286</c:v>
                </c:pt>
                <c:pt idx="75">
                  <c:v>2443.559538263547</c:v>
                </c:pt>
                <c:pt idx="76">
                  <c:v>2460.4466246816446</c:v>
                </c:pt>
                <c:pt idx="77">
                  <c:v>2477.1338378646456</c:v>
                </c:pt>
                <c:pt idx="78">
                  <c:v>2493.6195315139585</c:v>
                </c:pt>
                <c:pt idx="79">
                  <c:v>2509.9023373473738</c:v>
                </c:pt>
                <c:pt idx="80">
                  <c:v>2525.9811400173885</c:v>
                </c:pt>
                <c:pt idx="81">
                  <c:v>2541.8550541694117</c:v>
                </c:pt>
                <c:pt idx="82">
                  <c:v>2557.5234031684477</c:v>
                </c:pt>
                <c:pt idx="83">
                  <c:v>2572.9857019180645</c:v>
                </c:pt>
                <c:pt idx="84">
                  <c:v>2588.2416409739585</c:v>
                </c:pt>
                <c:pt idx="85">
                  <c:v>2603.2910728817583</c:v>
                </c:pt>
                <c:pt idx="86">
                  <c:v>2618.1340020494454</c:v>
                </c:pt>
                <c:pt idx="87">
                  <c:v>2632.7705720367348</c:v>
                </c:pt>
                <c:pt idx="88">
                  <c:v>2647.2010558711977</c:v>
                </c:pt>
                <c:pt idx="89">
                  <c:v>2661.4258473919658</c:v>
                </c:pt>
                <c:pt idx="90">
                  <c:v>2675.4454538884688</c:v>
                </c:pt>
                <c:pt idx="91">
                  <c:v>2689.2604894651968</c:v>
                </c:pt>
                <c:pt idx="92">
                  <c:v>2702.871669074771</c:v>
                </c:pt>
                <c:pt idx="93">
                  <c:v>2716.27980370693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507.7945243616969</c:v>
                </c:pt>
                <c:pt idx="32">
                  <c:v>1540.2564359813439</c:v>
                </c:pt>
                <c:pt idx="33">
                  <c:v>1571.4227728971921</c:v>
                </c:pt>
                <c:pt idx="34">
                  <c:v>1601.766869288768</c:v>
                </c:pt>
                <c:pt idx="35">
                  <c:v>1632.1610712222953</c:v>
                </c:pt>
                <c:pt idx="36">
                  <c:v>1662.9073560913878</c:v>
                </c:pt>
                <c:pt idx="37">
                  <c:v>1694.1392858740617</c:v>
                </c:pt>
                <c:pt idx="38">
                  <c:v>1725.9585175475806</c:v>
                </c:pt>
                <c:pt idx="39">
                  <c:v>1758.4522280369829</c:v>
                </c:pt>
                <c:pt idx="40">
                  <c:v>1791.6993938056171</c:v>
                </c:pt>
                <c:pt idx="41">
                  <c:v>1825.772334401863</c:v>
                </c:pt>
                <c:pt idx="42">
                  <c:v>1860.7361291452412</c:v>
                </c:pt>
                <c:pt idx="43">
                  <c:v>1896.6445405700961</c:v>
                </c:pt>
                <c:pt idx="44">
                  <c:v>1933.5447983129691</c:v>
                </c:pt>
                <c:pt idx="45">
                  <c:v>1971.4782327703756</c:v>
                </c:pt>
                <c:pt idx="46">
                  <c:v>2010.4804241215347</c:v>
                </c:pt>
                <c:pt idx="47">
                  <c:v>2050.5829046256031</c:v>
                </c:pt>
                <c:pt idx="48">
                  <c:v>2091.8133446799338</c:v>
                </c:pt>
                <c:pt idx="49">
                  <c:v>2134.1956105063796</c:v>
                </c:pt>
                <c:pt idx="50">
                  <c:v>2177.7510140513486</c:v>
                </c:pt>
                <c:pt idx="51">
                  <c:v>2222.4962506505467</c:v>
                </c:pt>
                <c:pt idx="52">
                  <c:v>2268.4442626991145</c:v>
                </c:pt>
                <c:pt idx="53">
                  <c:v>2315.604151011149</c:v>
                </c:pt>
                <c:pt idx="54">
                  <c:v>2363.9812624403239</c:v>
                </c:pt>
                <c:pt idx="55">
                  <c:v>2413.5771104914625</c:v>
                </c:pt>
                <c:pt idx="56">
                  <c:v>2464.3891657088116</c:v>
                </c:pt>
                <c:pt idx="57">
                  <c:v>2516.4107853624942</c:v>
                </c:pt>
                <c:pt idx="58">
                  <c:v>2569.6304403749286</c:v>
                </c:pt>
                <c:pt idx="59">
                  <c:v>2624.0317010641033</c:v>
                </c:pt>
                <c:pt idx="60">
                  <c:v>2679.593752742675</c:v>
                </c:pt>
                <c:pt idx="61">
                  <c:v>2736.2907173198869</c:v>
                </c:pt>
                <c:pt idx="62">
                  <c:v>2794.0911921415691</c:v>
                </c:pt>
                <c:pt idx="63">
                  <c:v>2852.958865774377</c:v>
                </c:pt>
                <c:pt idx="64">
                  <c:v>2912.8522833229918</c:v>
                </c:pt>
                <c:pt idx="65">
                  <c:v>2973.7244361340331</c:v>
                </c:pt>
                <c:pt idx="66">
                  <c:v>3035.5230656126651</c:v>
                </c:pt>
                <c:pt idx="67">
                  <c:v>3098.1909038261083</c:v>
                </c:pt>
                <c:pt idx="68">
                  <c:v>3161.6659164832222</c:v>
                </c:pt>
                <c:pt idx="69">
                  <c:v>3225.8815763218254</c:v>
                </c:pt>
                <c:pt idx="70">
                  <c:v>3290.7696699924713</c:v>
                </c:pt>
                <c:pt idx="71">
                  <c:v>3356.2600663217977</c:v>
                </c:pt>
                <c:pt idx="72">
                  <c:v>3422.2804465158274</c:v>
                </c:pt>
                <c:pt idx="73">
                  <c:v>3488.7563867714248</c:v>
                </c:pt>
                <c:pt idx="74">
                  <c:v>3555.6116324568402</c:v>
                </c:pt>
                <c:pt idx="75">
                  <c:v>3622.7684718171495</c:v>
                </c:pt>
                <c:pt idx="76">
                  <c:v>3690.1481508790271</c:v>
                </c:pt>
                <c:pt idx="77">
                  <c:v>3757.6712941346027</c:v>
                </c:pt>
                <c:pt idx="78">
                  <c:v>3825.2583184694522</c:v>
                </c:pt>
                <c:pt idx="79">
                  <c:v>3892.8298158548801</c:v>
                </c:pt>
                <c:pt idx="80">
                  <c:v>3960.306959272873</c:v>
                </c:pt>
                <c:pt idx="81">
                  <c:v>4027.6119050265293</c:v>
                </c:pt>
                <c:pt idx="82">
                  <c:v>4094.6681848906715</c:v>
                </c:pt>
                <c:pt idx="83">
                  <c:v>4161.4010922011466</c:v>
                </c:pt>
                <c:pt idx="84">
                  <c:v>4227.7380490340629</c:v>
                </c:pt>
                <c:pt idx="85">
                  <c:v>4293.6089525868247</c:v>
                </c:pt>
                <c:pt idx="86">
                  <c:v>4358.9465029034027</c:v>
                </c:pt>
                <c:pt idx="87">
                  <c:v>4423.6864894389255</c:v>
                </c:pt>
                <c:pt idx="88">
                  <c:v>4487.7680519231817</c:v>
                </c:pt>
                <c:pt idx="89">
                  <c:v>4551.1339077399025</c:v>
                </c:pt>
                <c:pt idx="90">
                  <c:v>4613.7305456264849</c:v>
                </c:pt>
                <c:pt idx="91">
                  <c:v>4675.5083836101194</c:v>
                </c:pt>
                <c:pt idx="92">
                  <c:v>4736.4218907713866</c:v>
                </c:pt>
                <c:pt idx="93">
                  <c:v>4796.42967463476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507.7945243616969</c:v>
                </c:pt>
                <c:pt idx="32">
                  <c:v>1540.2564359813439</c:v>
                </c:pt>
                <c:pt idx="33">
                  <c:v>1571.4227728971921</c:v>
                </c:pt>
                <c:pt idx="34">
                  <c:v>1602.2030423218798</c:v>
                </c:pt>
                <c:pt idx="35">
                  <c:v>1633.2547898600615</c:v>
                </c:pt>
                <c:pt idx="36">
                  <c:v>1665.0107032693704</c:v>
                </c:pt>
                <c:pt idx="37">
                  <c:v>1697.7379065058551</c:v>
                </c:pt>
                <c:pt idx="38">
                  <c:v>1731.6397135240172</c:v>
                </c:pt>
                <c:pt idx="39">
                  <c:v>1766.890478173952</c:v>
                </c:pt>
                <c:pt idx="40">
                  <c:v>1803.648153382351</c:v>
                </c:pt>
                <c:pt idx="41">
                  <c:v>1842.057378245973</c:v>
                </c:pt>
                <c:pt idx="42">
                  <c:v>1882.24831140386</c:v>
                </c:pt>
                <c:pt idx="43">
                  <c:v>1924.3284779247003</c:v>
                </c:pt>
                <c:pt idx="44">
                  <c:v>1968.3923370815803</c:v>
                </c:pt>
                <c:pt idx="45">
                  <c:v>2014.5225496675271</c:v>
                </c:pt>
                <c:pt idx="46">
                  <c:v>2062.7902760409693</c:v>
                </c:pt>
                <c:pt idx="47">
                  <c:v>2113.2585807202363</c:v>
                </c:pt>
                <c:pt idx="48">
                  <c:v>2165.9828045000286</c:v>
                </c:pt>
                <c:pt idx="49">
                  <c:v>2221.0106798240568</c:v>
                </c:pt>
                <c:pt idx="50">
                  <c:v>2278.3848305851257</c:v>
                </c:pt>
                <c:pt idx="51">
                  <c:v>2338.1386474546484</c:v>
                </c:pt>
                <c:pt idx="52">
                  <c:v>2400.2980152229111</c:v>
                </c:pt>
                <c:pt idx="53">
                  <c:v>2464.8811355181142</c:v>
                </c:pt>
                <c:pt idx="54">
                  <c:v>2531.8987020475915</c:v>
                </c:pt>
                <c:pt idx="55">
                  <c:v>2601.3537418210026</c:v>
                </c:pt>
                <c:pt idx="56">
                  <c:v>2673.2411959268311</c:v>
                </c:pt>
                <c:pt idx="57">
                  <c:v>2747.5477789053239</c:v>
                </c:pt>
                <c:pt idx="58">
                  <c:v>2824.2504326013263</c:v>
                </c:pt>
                <c:pt idx="59">
                  <c:v>2903.3162976508061</c:v>
                </c:pt>
                <c:pt idx="60">
                  <c:v>2984.7037446790796</c:v>
                </c:pt>
                <c:pt idx="61">
                  <c:v>3068.3610175046342</c:v>
                </c:pt>
                <c:pt idx="62">
                  <c:v>3154.2253108191289</c:v>
                </c:pt>
                <c:pt idx="63">
                  <c:v>3242.2240017558715</c:v>
                </c:pt>
                <c:pt idx="64">
                  <c:v>3332.2741805242349</c:v>
                </c:pt>
                <c:pt idx="65">
                  <c:v>3424.2818298174452</c:v>
                </c:pt>
                <c:pt idx="66">
                  <c:v>3518.142432445843</c:v>
                </c:pt>
                <c:pt idx="67">
                  <c:v>3613.7414525438599</c:v>
                </c:pt>
                <c:pt idx="68">
                  <c:v>3710.9548215292152</c:v>
                </c:pt>
                <c:pt idx="69">
                  <c:v>3809.6494848775556</c:v>
                </c:pt>
                <c:pt idx="70">
                  <c:v>3909.6890158899778</c:v>
                </c:pt>
                <c:pt idx="71">
                  <c:v>4010.9331522197581</c:v>
                </c:pt>
                <c:pt idx="72">
                  <c:v>4113.2372562789487</c:v>
                </c:pt>
                <c:pt idx="73">
                  <c:v>4216.4524804612702</c:v>
                </c:pt>
                <c:pt idx="74">
                  <c:v>4320.4263155032313</c:v>
                </c:pt>
                <c:pt idx="75">
                  <c:v>4425.0033378949838</c:v>
                </c:pt>
                <c:pt idx="76">
                  <c:v>4530.0260396898693</c:v>
                </c:pt>
                <c:pt idx="77">
                  <c:v>4635.3356698721545</c:v>
                </c:pt>
                <c:pt idx="78">
                  <c:v>4740.7730622129839</c:v>
                </c:pt>
                <c:pt idx="79">
                  <c:v>4846.1794006549671</c:v>
                </c:pt>
                <c:pt idx="80">
                  <c:v>4951.3970311620833</c:v>
                </c:pt>
                <c:pt idx="81">
                  <c:v>5056.2702663405262</c:v>
                </c:pt>
                <c:pt idx="82">
                  <c:v>5160.6461697399409</c:v>
                </c:pt>
                <c:pt idx="83">
                  <c:v>5264.3753280320216</c:v>
                </c:pt>
                <c:pt idx="84">
                  <c:v>5367.3125853689908</c:v>
                </c:pt>
                <c:pt idx="85">
                  <c:v>5469.3177361456383</c:v>
                </c:pt>
                <c:pt idx="86">
                  <c:v>5570.2561804499319</c:v>
                </c:pt>
                <c:pt idx="87">
                  <c:v>5669.9994971921051</c:v>
                </c:pt>
                <c:pt idx="88">
                  <c:v>5768.4259658317451</c:v>
                </c:pt>
                <c:pt idx="89">
                  <c:v>5865.4210211363179</c:v>
                </c:pt>
                <c:pt idx="90">
                  <c:v>5960.8776405806129</c:v>
                </c:pt>
                <c:pt idx="91">
                  <c:v>6054.6966602190114</c:v>
                </c:pt>
                <c:pt idx="92">
                  <c:v>6146.7870182126771</c:v>
                </c:pt>
                <c:pt idx="93">
                  <c:v>6237.06592961055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55</c:v>
                </c:pt>
                <c:pt idx="1">
                  <c:v>121</c:v>
                </c:pt>
                <c:pt idx="2">
                  <c:v>172</c:v>
                </c:pt>
                <c:pt idx="3">
                  <c:v>214</c:v>
                </c:pt>
                <c:pt idx="4">
                  <c:v>261</c:v>
                </c:pt>
                <c:pt idx="5">
                  <c:v>347</c:v>
                </c:pt>
                <c:pt idx="6">
                  <c:v>399</c:v>
                </c:pt>
                <c:pt idx="7">
                  <c:v>455</c:v>
                </c:pt>
                <c:pt idx="8">
                  <c:v>507</c:v>
                </c:pt>
                <c:pt idx="9">
                  <c:v>549</c:v>
                </c:pt>
                <c:pt idx="10">
                  <c:v>572</c:v>
                </c:pt>
                <c:pt idx="11">
                  <c:v>599</c:v>
                </c:pt>
                <c:pt idx="12">
                  <c:v>646</c:v>
                </c:pt>
                <c:pt idx="13">
                  <c:v>679</c:v>
                </c:pt>
                <c:pt idx="14">
                  <c:v>721</c:v>
                </c:pt>
                <c:pt idx="15">
                  <c:v>771</c:v>
                </c:pt>
                <c:pt idx="16">
                  <c:v>812</c:v>
                </c:pt>
                <c:pt idx="17">
                  <c:v>831</c:v>
                </c:pt>
                <c:pt idx="18">
                  <c:v>847</c:v>
                </c:pt>
                <c:pt idx="19">
                  <c:v>875</c:v>
                </c:pt>
                <c:pt idx="20">
                  <c:v>910</c:v>
                </c:pt>
                <c:pt idx="21">
                  <c:v>943</c:v>
                </c:pt>
                <c:pt idx="22">
                  <c:v>971</c:v>
                </c:pt>
                <c:pt idx="23">
                  <c:v>990</c:v>
                </c:pt>
                <c:pt idx="24">
                  <c:v>1006</c:v>
                </c:pt>
                <c:pt idx="25">
                  <c:v>1029</c:v>
                </c:pt>
                <c:pt idx="26">
                  <c:v>1074</c:v>
                </c:pt>
                <c:pt idx="27">
                  <c:v>1102</c:v>
                </c:pt>
                <c:pt idx="28">
                  <c:v>1129</c:v>
                </c:pt>
                <c:pt idx="29">
                  <c:v>1151</c:v>
                </c:pt>
                <c:pt idx="30">
                  <c:v>1172</c:v>
                </c:pt>
                <c:pt idx="31">
                  <c:v>1193</c:v>
                </c:pt>
                <c:pt idx="32">
                  <c:v>1213</c:v>
                </c:pt>
                <c:pt idx="33">
                  <c:v>1232</c:v>
                </c:pt>
                <c:pt idx="34">
                  <c:v>1256</c:v>
                </c:pt>
                <c:pt idx="35">
                  <c:v>1281</c:v>
                </c:pt>
                <c:pt idx="36">
                  <c:v>1301</c:v>
                </c:pt>
                <c:pt idx="37">
                  <c:v>1314</c:v>
                </c:pt>
                <c:pt idx="38">
                  <c:v>1325</c:v>
                </c:pt>
                <c:pt idx="39">
                  <c:v>1338</c:v>
                </c:pt>
                <c:pt idx="40">
                  <c:v>1348</c:v>
                </c:pt>
                <c:pt idx="41">
                  <c:v>1355</c:v>
                </c:pt>
                <c:pt idx="42">
                  <c:v>1365</c:v>
                </c:pt>
                <c:pt idx="43">
                  <c:v>1375</c:v>
                </c:pt>
                <c:pt idx="44">
                  <c:v>1382</c:v>
                </c:pt>
                <c:pt idx="45">
                  <c:v>1394</c:v>
                </c:pt>
                <c:pt idx="46">
                  <c:v>1403</c:v>
                </c:pt>
                <c:pt idx="47">
                  <c:v>1423</c:v>
                </c:pt>
                <c:pt idx="48">
                  <c:v>1439</c:v>
                </c:pt>
                <c:pt idx="49">
                  <c:v>1459</c:v>
                </c:pt>
                <c:pt idx="50">
                  <c:v>1484</c:v>
                </c:pt>
                <c:pt idx="51">
                  <c:v>1504</c:v>
                </c:pt>
                <c:pt idx="52">
                  <c:v>1515</c:v>
                </c:pt>
                <c:pt idx="53">
                  <c:v>1531</c:v>
                </c:pt>
                <c:pt idx="54">
                  <c:v>1573</c:v>
                </c:pt>
                <c:pt idx="55">
                  <c:v>1602</c:v>
                </c:pt>
                <c:pt idx="56">
                  <c:v>1639</c:v>
                </c:pt>
                <c:pt idx="57">
                  <c:v>1674</c:v>
                </c:pt>
                <c:pt idx="58">
                  <c:v>1720</c:v>
                </c:pt>
                <c:pt idx="59">
                  <c:v>1740</c:v>
                </c:pt>
                <c:pt idx="60">
                  <c:v>1768</c:v>
                </c:pt>
                <c:pt idx="61">
                  <c:v>1831</c:v>
                </c:pt>
                <c:pt idx="62">
                  <c:v>1887</c:v>
                </c:pt>
                <c:pt idx="63">
                  <c:v>1928</c:v>
                </c:pt>
                <c:pt idx="64">
                  <c:v>1985</c:v>
                </c:pt>
                <c:pt idx="65">
                  <c:v>2034</c:v>
                </c:pt>
                <c:pt idx="66">
                  <c:v>2067</c:v>
                </c:pt>
                <c:pt idx="67">
                  <c:v>2098</c:v>
                </c:pt>
                <c:pt idx="68">
                  <c:v>2163</c:v>
                </c:pt>
                <c:pt idx="69">
                  <c:v>2206</c:v>
                </c:pt>
                <c:pt idx="70">
                  <c:v>2257</c:v>
                </c:pt>
                <c:pt idx="71">
                  <c:v>2314</c:v>
                </c:pt>
                <c:pt idx="72">
                  <c:v>2358</c:v>
                </c:pt>
                <c:pt idx="73">
                  <c:v>2390</c:v>
                </c:pt>
                <c:pt idx="74">
                  <c:v>2421</c:v>
                </c:pt>
                <c:pt idx="75">
                  <c:v>2488</c:v>
                </c:pt>
                <c:pt idx="76">
                  <c:v>2541</c:v>
                </c:pt>
                <c:pt idx="77">
                  <c:v>2572</c:v>
                </c:pt>
                <c:pt idx="78">
                  <c:v>2607</c:v>
                </c:pt>
                <c:pt idx="79">
                  <c:v>2634</c:v>
                </c:pt>
                <c:pt idx="80">
                  <c:v>2648</c:v>
                </c:pt>
                <c:pt idx="81">
                  <c:v>2667</c:v>
                </c:pt>
                <c:pt idx="82">
                  <c:v>2715</c:v>
                </c:pt>
                <c:pt idx="83">
                  <c:v>2750</c:v>
                </c:pt>
                <c:pt idx="84">
                  <c:v>2775</c:v>
                </c:pt>
                <c:pt idx="85">
                  <c:v>2802</c:v>
                </c:pt>
                <c:pt idx="86">
                  <c:v>2823</c:v>
                </c:pt>
                <c:pt idx="87">
                  <c:v>2835</c:v>
                </c:pt>
                <c:pt idx="88">
                  <c:v>2854</c:v>
                </c:pt>
                <c:pt idx="89">
                  <c:v>2893</c:v>
                </c:pt>
                <c:pt idx="90">
                  <c:v>2916</c:v>
                </c:pt>
                <c:pt idx="91">
                  <c:v>2937</c:v>
                </c:pt>
                <c:pt idx="92">
                  <c:v>2959</c:v>
                </c:pt>
                <c:pt idx="93">
                  <c:v>29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168.4613663764137</c:v>
                </c:pt>
                <c:pt idx="32">
                  <c:v>1187.1553165722257</c:v>
                </c:pt>
                <c:pt idx="33">
                  <c:v>1205.1031798070619</c:v>
                </c:pt>
                <c:pt idx="34">
                  <c:v>1222.3263561952606</c:v>
                </c:pt>
                <c:pt idx="35">
                  <c:v>1238.846245450583</c:v>
                </c:pt>
                <c:pt idx="36">
                  <c:v>1254.7020470591281</c:v>
                </c:pt>
                <c:pt idx="37">
                  <c:v>1269.9135500205909</c:v>
                </c:pt>
                <c:pt idx="38">
                  <c:v>1284.5004618584207</c:v>
                </c:pt>
                <c:pt idx="39">
                  <c:v>1298.4823621858995</c:v>
                </c:pt>
                <c:pt idx="40">
                  <c:v>1311.8786611244791</c:v>
                </c:pt>
                <c:pt idx="41">
                  <c:v>1324.8558765836567</c:v>
                </c:pt>
                <c:pt idx="42">
                  <c:v>1337.5381108197978</c:v>
                </c:pt>
                <c:pt idx="43">
                  <c:v>1350.0013311551502</c:v>
                </c:pt>
                <c:pt idx="44">
                  <c:v>1362.2942572671336</c:v>
                </c:pt>
                <c:pt idx="45">
                  <c:v>1374.4506274447631</c:v>
                </c:pt>
                <c:pt idx="46">
                  <c:v>1386.4961474084885</c:v>
                </c:pt>
                <c:pt idx="47">
                  <c:v>1398.4515008632766</c:v>
                </c:pt>
                <c:pt idx="48">
                  <c:v>1410.3334082720019</c:v>
                </c:pt>
                <c:pt idx="49">
                  <c:v>1422.1548046555949</c:v>
                </c:pt>
                <c:pt idx="50">
                  <c:v>1433.9237174926961</c:v>
                </c:pt>
                <c:pt idx="51">
                  <c:v>1445.6451944418498</c:v>
                </c:pt>
                <c:pt idx="52">
                  <c:v>1457.3218282375944</c:v>
                </c:pt>
                <c:pt idx="53">
                  <c:v>1468.9540771382447</c:v>
                </c:pt>
                <c:pt idx="54">
                  <c:v>1480.5410758117373</c:v>
                </c:pt>
                <c:pt idx="55">
                  <c:v>1492.0809081994796</c:v>
                </c:pt>
                <c:pt idx="56">
                  <c:v>1503.5708373741554</c:v>
                </c:pt>
                <c:pt idx="57">
                  <c:v>1515.0079042656025</c:v>
                </c:pt>
                <c:pt idx="58">
                  <c:v>1526.3883821428301</c:v>
                </c:pt>
                <c:pt idx="59">
                  <c:v>1537.7082192590146</c:v>
                </c:pt>
                <c:pt idx="60">
                  <c:v>1548.9631544681631</c:v>
                </c:pt>
                <c:pt idx="61">
                  <c:v>1560.1488820295995</c:v>
                </c:pt>
                <c:pt idx="62">
                  <c:v>1571.2611440934595</c:v>
                </c:pt>
                <c:pt idx="63">
                  <c:v>1582.2957737237246</c:v>
                </c:pt>
                <c:pt idx="64">
                  <c:v>1593.248781011667</c:v>
                </c:pt>
                <c:pt idx="65">
                  <c:v>1604.1161677368968</c:v>
                </c:pt>
                <c:pt idx="66">
                  <c:v>1614.8939992128207</c:v>
                </c:pt>
                <c:pt idx="67">
                  <c:v>1625.5786493092803</c:v>
                </c:pt>
                <c:pt idx="68">
                  <c:v>1636.1666192318855</c:v>
                </c:pt>
                <c:pt idx="69">
                  <c:v>1646.6544193293164</c:v>
                </c:pt>
                <c:pt idx="70">
                  <c:v>1657.0392213011201</c:v>
                </c:pt>
                <c:pt idx="71">
                  <c:v>1667.3186868888124</c:v>
                </c:pt>
                <c:pt idx="72">
                  <c:v>1677.4906781671298</c:v>
                </c:pt>
                <c:pt idx="73">
                  <c:v>1687.5532626277038</c:v>
                </c:pt>
                <c:pt idx="74">
                  <c:v>1697.504714071777</c:v>
                </c:pt>
                <c:pt idx="75">
                  <c:v>1707.3435113908527</c:v>
                </c:pt>
                <c:pt idx="76">
                  <c:v>1717.0683346283488</c:v>
                </c:pt>
                <c:pt idx="77">
                  <c:v>1726.678056193887</c:v>
                </c:pt>
                <c:pt idx="78">
                  <c:v>1736.1717280279618</c:v>
                </c:pt>
                <c:pt idx="79">
                  <c:v>1745.5485621732964</c:v>
                </c:pt>
                <c:pt idx="80">
                  <c:v>1754.8079163309742</c:v>
                </c:pt>
                <c:pt idx="81">
                  <c:v>1763.9492806488695</c:v>
                </c:pt>
                <c:pt idx="82">
                  <c:v>1772.9722654709126</c:v>
                </c:pt>
                <c:pt idx="83">
                  <c:v>1781.87659144299</c:v>
                </c:pt>
                <c:pt idx="84">
                  <c:v>1790.66208036437</c:v>
                </c:pt>
                <c:pt idx="85">
                  <c:v>1799.328647320008</c:v>
                </c:pt>
                <c:pt idx="86">
                  <c:v>1807.8762948483432</c:v>
                </c:pt>
                <c:pt idx="87">
                  <c:v>1816.3051056215911</c:v>
                </c:pt>
                <c:pt idx="88">
                  <c:v>1824.6152368690573</c:v>
                </c:pt>
                <c:pt idx="89">
                  <c:v>1832.806915392207</c:v>
                </c:pt>
                <c:pt idx="90">
                  <c:v>1840.8804333255098</c:v>
                </c:pt>
                <c:pt idx="91">
                  <c:v>1848.8361443153831</c:v>
                </c:pt>
                <c:pt idx="92">
                  <c:v>1856.674460083997</c:v>
                </c:pt>
                <c:pt idx="93">
                  <c:v>1864.39584765874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168.4613663764137</c:v>
                </c:pt>
                <c:pt idx="32">
                  <c:v>1187.1553165722257</c:v>
                </c:pt>
                <c:pt idx="33">
                  <c:v>1205.1031798070619</c:v>
                </c:pt>
                <c:pt idx="34">
                  <c:v>1222.5775366264465</c:v>
                </c:pt>
                <c:pt idx="35">
                  <c:v>1240.0807478927518</c:v>
                </c:pt>
                <c:pt idx="36">
                  <c:v>1257.7867143430205</c:v>
                </c:pt>
                <c:pt idx="37">
                  <c:v>1275.7723507626281</c:v>
                </c:pt>
                <c:pt idx="38">
                  <c:v>1294.0961986968871</c:v>
                </c:pt>
                <c:pt idx="39">
                  <c:v>1312.8084610147469</c:v>
                </c:pt>
                <c:pt idx="40">
                  <c:v>1331.9546181577105</c:v>
                </c:pt>
                <c:pt idx="41">
                  <c:v>1351.5763170272735</c:v>
                </c:pt>
                <c:pt idx="42">
                  <c:v>1371.7110350699941</c:v>
                </c:pt>
                <c:pt idx="43">
                  <c:v>1392.3897326972985</c:v>
                </c:pt>
                <c:pt idx="44">
                  <c:v>1413.6396081987893</c:v>
                </c:pt>
                <c:pt idx="45">
                  <c:v>1435.4844626488789</c:v>
                </c:pt>
                <c:pt idx="46">
                  <c:v>1457.9447857250104</c:v>
                </c:pt>
                <c:pt idx="47">
                  <c:v>1481.0387360152899</c:v>
                </c:pt>
                <c:pt idx="48">
                  <c:v>1504.7822481644816</c:v>
                </c:pt>
                <c:pt idx="49">
                  <c:v>1529.1890660940123</c:v>
                </c:pt>
                <c:pt idx="50">
                  <c:v>1554.2714627861208</c:v>
                </c:pt>
                <c:pt idx="51">
                  <c:v>1580.0390526399165</c:v>
                </c:pt>
                <c:pt idx="52">
                  <c:v>1606.4992888360075</c:v>
                </c:pt>
                <c:pt idx="53">
                  <c:v>1633.6574122908091</c:v>
                </c:pt>
                <c:pt idx="54">
                  <c:v>1661.5165021149246</c:v>
                </c:pt>
                <c:pt idx="55">
                  <c:v>1690.0774298954657</c:v>
                </c:pt>
                <c:pt idx="56">
                  <c:v>1719.3387389862426</c:v>
                </c:pt>
                <c:pt idx="57">
                  <c:v>1749.2966040160654</c:v>
                </c:pt>
                <c:pt idx="58">
                  <c:v>1779.944385696261</c:v>
                </c:pt>
                <c:pt idx="59">
                  <c:v>1811.2726226106056</c:v>
                </c:pt>
                <c:pt idx="60">
                  <c:v>1843.2693281351105</c:v>
                </c:pt>
                <c:pt idx="61">
                  <c:v>1875.9195997666382</c:v>
                </c:pt>
                <c:pt idx="62">
                  <c:v>1909.2053535531418</c:v>
                </c:pt>
                <c:pt idx="63">
                  <c:v>1943.105678707406</c:v>
                </c:pt>
                <c:pt idx="64">
                  <c:v>1977.596702459474</c:v>
                </c:pt>
                <c:pt idx="65">
                  <c:v>2012.6513537780595</c:v>
                </c:pt>
                <c:pt idx="66">
                  <c:v>2048.2395383304379</c:v>
                </c:pt>
                <c:pt idx="67">
                  <c:v>2084.3282770395986</c:v>
                </c:pt>
                <c:pt idx="68">
                  <c:v>2120.8818460097159</c:v>
                </c:pt>
                <c:pt idx="69">
                  <c:v>2157.8619339626234</c:v>
                </c:pt>
                <c:pt idx="70">
                  <c:v>2195.2292586474114</c:v>
                </c:pt>
                <c:pt idx="71">
                  <c:v>2232.9434333894633</c:v>
                </c:pt>
                <c:pt idx="72">
                  <c:v>2270.9628117217239</c:v>
                </c:pt>
                <c:pt idx="73">
                  <c:v>2309.244534958435</c:v>
                </c:pt>
                <c:pt idx="74">
                  <c:v>2347.7446900884097</c:v>
                </c:pt>
                <c:pt idx="75">
                  <c:v>2386.4185249820375</c:v>
                </c:pt>
                <c:pt idx="76">
                  <c:v>2425.2206873238938</c:v>
                </c:pt>
                <c:pt idx="77">
                  <c:v>2464.1054668733655</c:v>
                </c:pt>
                <c:pt idx="78">
                  <c:v>2503.0270338347555</c:v>
                </c:pt>
                <c:pt idx="79">
                  <c:v>2541.9396592395733</c:v>
                </c:pt>
                <c:pt idx="80">
                  <c:v>2580.7979487079047</c:v>
                </c:pt>
                <c:pt idx="81">
                  <c:v>2619.5570741282691</c:v>
                </c:pt>
                <c:pt idx="82">
                  <c:v>2658.1729994867133</c:v>
                </c:pt>
                <c:pt idx="83">
                  <c:v>2696.6027032053548</c:v>
                </c:pt>
                <c:pt idx="84">
                  <c:v>2734.8043895911228</c:v>
                </c:pt>
                <c:pt idx="85">
                  <c:v>2772.7376883073694</c:v>
                </c:pt>
                <c:pt idx="86">
                  <c:v>2810.3638431021236</c:v>
                </c:pt>
                <c:pt idx="87">
                  <c:v>2847.6458768330062</c:v>
                </c:pt>
                <c:pt idx="88">
                  <c:v>2884.5487416915707</c:v>
                </c:pt>
                <c:pt idx="89">
                  <c:v>2921.0394501449773</c:v>
                </c:pt>
                <c:pt idx="90">
                  <c:v>2957.0871864825017</c:v>
                </c:pt>
                <c:pt idx="91">
                  <c:v>2992.6633977667452</c:v>
                </c:pt>
                <c:pt idx="92">
                  <c:v>3027.7418639540469</c:v>
                </c:pt>
                <c:pt idx="93">
                  <c:v>3062.29874822034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168.4613663764137</c:v>
                </c:pt>
                <c:pt idx="32">
                  <c:v>1187.1553165722257</c:v>
                </c:pt>
                <c:pt idx="33">
                  <c:v>1205.1031798070619</c:v>
                </c:pt>
                <c:pt idx="34">
                  <c:v>1222.8287170576325</c:v>
                </c:pt>
                <c:pt idx="35">
                  <c:v>1240.7105913222513</c:v>
                </c:pt>
                <c:pt idx="36">
                  <c:v>1258.9979759547955</c:v>
                </c:pt>
                <c:pt idx="37">
                  <c:v>1277.8447005260243</c:v>
                </c:pt>
                <c:pt idx="38">
                  <c:v>1297.3678481265488</c:v>
                </c:pt>
                <c:pt idx="39">
                  <c:v>1317.6678244942786</c:v>
                </c:pt>
                <c:pt idx="40">
                  <c:v>1338.835590512216</c:v>
                </c:pt>
                <c:pt idx="41">
                  <c:v>1360.9544399833521</c:v>
                </c:pt>
                <c:pt idx="42">
                  <c:v>1384.0993278008034</c:v>
                </c:pt>
                <c:pt idx="43">
                  <c:v>1408.3321747874227</c:v>
                </c:pt>
                <c:pt idx="44">
                  <c:v>1433.7073775224162</c:v>
                </c:pt>
                <c:pt idx="45">
                  <c:v>1460.2725381546072</c:v>
                </c:pt>
                <c:pt idx="46">
                  <c:v>1488.0686360388765</c:v>
                </c:pt>
                <c:pt idx="47">
                  <c:v>1517.1319883514457</c:v>
                </c:pt>
                <c:pt idx="48">
                  <c:v>1547.4944643818392</c:v>
                </c:pt>
                <c:pt idx="49">
                  <c:v>1579.1835519729143</c:v>
                </c:pt>
                <c:pt idx="50">
                  <c:v>1612.223797089141</c:v>
                </c:pt>
                <c:pt idx="51">
                  <c:v>1646.6344285287407</c:v>
                </c:pt>
                <c:pt idx="52">
                  <c:v>1682.4303526529313</c:v>
                </c:pt>
                <c:pt idx="53">
                  <c:v>1719.6220512945467</c:v>
                </c:pt>
                <c:pt idx="54">
                  <c:v>1758.2156826747862</c:v>
                </c:pt>
                <c:pt idx="55">
                  <c:v>1798.2129899678803</c:v>
                </c:pt>
                <c:pt idx="56">
                  <c:v>1839.6110598814444</c:v>
                </c:pt>
                <c:pt idx="57">
                  <c:v>1882.4022416730984</c:v>
                </c:pt>
                <c:pt idx="58">
                  <c:v>1926.5732567655016</c:v>
                </c:pt>
                <c:pt idx="59">
                  <c:v>1972.1051823262007</c:v>
                </c:pt>
                <c:pt idx="60">
                  <c:v>2018.9740451072207</c:v>
                </c:pt>
                <c:pt idx="61">
                  <c:v>2067.1500401022863</c:v>
                </c:pt>
                <c:pt idx="62">
                  <c:v>2116.5969994073039</c:v>
                </c:pt>
                <c:pt idx="63">
                  <c:v>2167.2731014478409</c:v>
                </c:pt>
                <c:pt idx="64">
                  <c:v>2219.1306006839891</c:v>
                </c:pt>
                <c:pt idx="65">
                  <c:v>2272.1153550531685</c:v>
                </c:pt>
                <c:pt idx="66">
                  <c:v>2326.167175889937</c:v>
                </c:pt>
                <c:pt idx="67">
                  <c:v>2381.2201050402687</c:v>
                </c:pt>
                <c:pt idx="68">
                  <c:v>2437.2026947125123</c:v>
                </c:pt>
                <c:pt idx="69">
                  <c:v>2494.0383223503391</c:v>
                </c:pt>
                <c:pt idx="70">
                  <c:v>2551.6484234519248</c:v>
                </c:pt>
                <c:pt idx="71">
                  <c:v>2609.9522246680372</c:v>
                </c:pt>
                <c:pt idx="72">
                  <c:v>2668.8664330645688</c:v>
                </c:pt>
                <c:pt idx="73">
                  <c:v>2728.3053312699994</c:v>
                </c:pt>
                <c:pt idx="74">
                  <c:v>2788.1810932619587</c:v>
                </c:pt>
                <c:pt idx="75">
                  <c:v>2848.4042147812265</c:v>
                </c:pt>
                <c:pt idx="76">
                  <c:v>2908.8839911969494</c:v>
                </c:pt>
                <c:pt idx="77">
                  <c:v>2969.5290020279049</c:v>
                </c:pt>
                <c:pt idx="78">
                  <c:v>3030.2475876826948</c:v>
                </c:pt>
                <c:pt idx="79">
                  <c:v>3090.948290224339</c:v>
                </c:pt>
                <c:pt idx="80">
                  <c:v>3151.5403208930115</c:v>
                </c:pt>
                <c:pt idx="81">
                  <c:v>3211.9340234657502</c:v>
                </c:pt>
                <c:pt idx="82">
                  <c:v>3272.0413259146494</c:v>
                </c:pt>
                <c:pt idx="83">
                  <c:v>3331.7761850839429</c:v>
                </c:pt>
                <c:pt idx="84">
                  <c:v>3391.0550095874923</c:v>
                </c:pt>
                <c:pt idx="85">
                  <c:v>3449.7970587519917</c:v>
                </c:pt>
                <c:pt idx="86">
                  <c:v>3507.9248200735142</c:v>
                </c:pt>
                <c:pt idx="87">
                  <c:v>3565.3643392672875</c:v>
                </c:pt>
                <c:pt idx="88">
                  <c:v>3622.045520716425</c:v>
                </c:pt>
                <c:pt idx="89">
                  <c:v>3677.9023893552485</c:v>
                </c:pt>
                <c:pt idx="90">
                  <c:v>3732.8733137623071</c:v>
                </c:pt>
                <c:pt idx="91">
                  <c:v>3786.9011880628041</c:v>
                </c:pt>
                <c:pt idx="92">
                  <c:v>3839.9335721694183</c:v>
                </c:pt>
                <c:pt idx="93">
                  <c:v>3891.92279243402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57</c:v>
                </c:pt>
                <c:pt idx="1">
                  <c:v>105</c:v>
                </c:pt>
                <c:pt idx="2">
                  <c:v>159</c:v>
                </c:pt>
                <c:pt idx="3">
                  <c:v>185</c:v>
                </c:pt>
                <c:pt idx="4">
                  <c:v>216</c:v>
                </c:pt>
                <c:pt idx="5">
                  <c:v>259</c:v>
                </c:pt>
                <c:pt idx="6">
                  <c:v>301</c:v>
                </c:pt>
                <c:pt idx="7">
                  <c:v>347</c:v>
                </c:pt>
                <c:pt idx="8">
                  <c:v>381</c:v>
                </c:pt>
                <c:pt idx="9">
                  <c:v>447</c:v>
                </c:pt>
                <c:pt idx="10">
                  <c:v>459</c:v>
                </c:pt>
                <c:pt idx="11">
                  <c:v>489</c:v>
                </c:pt>
                <c:pt idx="12">
                  <c:v>544</c:v>
                </c:pt>
                <c:pt idx="13">
                  <c:v>572</c:v>
                </c:pt>
                <c:pt idx="14">
                  <c:v>619</c:v>
                </c:pt>
                <c:pt idx="15">
                  <c:v>645</c:v>
                </c:pt>
                <c:pt idx="16">
                  <c:v>675</c:v>
                </c:pt>
                <c:pt idx="17">
                  <c:v>689</c:v>
                </c:pt>
                <c:pt idx="18">
                  <c:v>704</c:v>
                </c:pt>
                <c:pt idx="19">
                  <c:v>734</c:v>
                </c:pt>
                <c:pt idx="20">
                  <c:v>759</c:v>
                </c:pt>
                <c:pt idx="21">
                  <c:v>775</c:v>
                </c:pt>
                <c:pt idx="22">
                  <c:v>794</c:v>
                </c:pt>
                <c:pt idx="23">
                  <c:v>807</c:v>
                </c:pt>
                <c:pt idx="24">
                  <c:v>820</c:v>
                </c:pt>
                <c:pt idx="25">
                  <c:v>833</c:v>
                </c:pt>
                <c:pt idx="26">
                  <c:v>844</c:v>
                </c:pt>
                <c:pt idx="27">
                  <c:v>867</c:v>
                </c:pt>
                <c:pt idx="28">
                  <c:v>876</c:v>
                </c:pt>
                <c:pt idx="29">
                  <c:v>893</c:v>
                </c:pt>
                <c:pt idx="30">
                  <c:v>912</c:v>
                </c:pt>
                <c:pt idx="31">
                  <c:v>924</c:v>
                </c:pt>
                <c:pt idx="32">
                  <c:v>932</c:v>
                </c:pt>
                <c:pt idx="33">
                  <c:v>947</c:v>
                </c:pt>
                <c:pt idx="34">
                  <c:v>958</c:v>
                </c:pt>
                <c:pt idx="35">
                  <c:v>968</c:v>
                </c:pt>
                <c:pt idx="36">
                  <c:v>980</c:v>
                </c:pt>
                <c:pt idx="37">
                  <c:v>990</c:v>
                </c:pt>
                <c:pt idx="38">
                  <c:v>995</c:v>
                </c:pt>
                <c:pt idx="39">
                  <c:v>997</c:v>
                </c:pt>
                <c:pt idx="40">
                  <c:v>1004</c:v>
                </c:pt>
                <c:pt idx="41">
                  <c:v>1009</c:v>
                </c:pt>
                <c:pt idx="42">
                  <c:v>1027</c:v>
                </c:pt>
                <c:pt idx="43">
                  <c:v>1033</c:v>
                </c:pt>
                <c:pt idx="44">
                  <c:v>1044</c:v>
                </c:pt>
                <c:pt idx="45">
                  <c:v>1052</c:v>
                </c:pt>
                <c:pt idx="46">
                  <c:v>1056</c:v>
                </c:pt>
                <c:pt idx="47">
                  <c:v>1062</c:v>
                </c:pt>
                <c:pt idx="48">
                  <c:v>1074</c:v>
                </c:pt>
                <c:pt idx="49">
                  <c:v>1090</c:v>
                </c:pt>
                <c:pt idx="50">
                  <c:v>1100</c:v>
                </c:pt>
                <c:pt idx="51">
                  <c:v>1124</c:v>
                </c:pt>
                <c:pt idx="52">
                  <c:v>1133</c:v>
                </c:pt>
                <c:pt idx="53">
                  <c:v>1143</c:v>
                </c:pt>
                <c:pt idx="54">
                  <c:v>1165</c:v>
                </c:pt>
                <c:pt idx="55">
                  <c:v>1200</c:v>
                </c:pt>
                <c:pt idx="56">
                  <c:v>1221</c:v>
                </c:pt>
                <c:pt idx="57">
                  <c:v>1246</c:v>
                </c:pt>
                <c:pt idx="58">
                  <c:v>1278</c:v>
                </c:pt>
                <c:pt idx="59">
                  <c:v>1292</c:v>
                </c:pt>
                <c:pt idx="60">
                  <c:v>1306</c:v>
                </c:pt>
                <c:pt idx="61">
                  <c:v>1346</c:v>
                </c:pt>
                <c:pt idx="62">
                  <c:v>1391</c:v>
                </c:pt>
                <c:pt idx="63">
                  <c:v>1419</c:v>
                </c:pt>
                <c:pt idx="64">
                  <c:v>1453</c:v>
                </c:pt>
                <c:pt idx="65">
                  <c:v>1487</c:v>
                </c:pt>
                <c:pt idx="66">
                  <c:v>1509</c:v>
                </c:pt>
                <c:pt idx="67">
                  <c:v>1519</c:v>
                </c:pt>
                <c:pt idx="68">
                  <c:v>1568</c:v>
                </c:pt>
                <c:pt idx="69">
                  <c:v>1612</c:v>
                </c:pt>
                <c:pt idx="70">
                  <c:v>1660</c:v>
                </c:pt>
                <c:pt idx="71">
                  <c:v>1692</c:v>
                </c:pt>
                <c:pt idx="72">
                  <c:v>1725</c:v>
                </c:pt>
                <c:pt idx="73">
                  <c:v>1740</c:v>
                </c:pt>
                <c:pt idx="74">
                  <c:v>1759</c:v>
                </c:pt>
                <c:pt idx="75">
                  <c:v>1805</c:v>
                </c:pt>
                <c:pt idx="76">
                  <c:v>1829</c:v>
                </c:pt>
                <c:pt idx="77">
                  <c:v>1865</c:v>
                </c:pt>
                <c:pt idx="78">
                  <c:v>1893</c:v>
                </c:pt>
                <c:pt idx="79">
                  <c:v>1919</c:v>
                </c:pt>
                <c:pt idx="80">
                  <c:v>1930</c:v>
                </c:pt>
                <c:pt idx="81">
                  <c:v>1940</c:v>
                </c:pt>
                <c:pt idx="82">
                  <c:v>1989</c:v>
                </c:pt>
                <c:pt idx="83">
                  <c:v>2016</c:v>
                </c:pt>
                <c:pt idx="84">
                  <c:v>2051</c:v>
                </c:pt>
                <c:pt idx="85">
                  <c:v>2091</c:v>
                </c:pt>
                <c:pt idx="86">
                  <c:v>2117</c:v>
                </c:pt>
                <c:pt idx="87">
                  <c:v>2130</c:v>
                </c:pt>
                <c:pt idx="88">
                  <c:v>2143</c:v>
                </c:pt>
                <c:pt idx="89">
                  <c:v>2171</c:v>
                </c:pt>
                <c:pt idx="90">
                  <c:v>2183</c:v>
                </c:pt>
                <c:pt idx="91">
                  <c:v>2205</c:v>
                </c:pt>
                <c:pt idx="92">
                  <c:v>2223</c:v>
                </c:pt>
                <c:pt idx="93">
                  <c:v>22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928.15939046989433</c:v>
                </c:pt>
                <c:pt idx="32">
                  <c:v>943.6815709168435</c:v>
                </c:pt>
                <c:pt idx="33">
                  <c:v>958.5842516691813</c:v>
                </c:pt>
                <c:pt idx="34">
                  <c:v>972.88520192137275</c:v>
                </c:pt>
                <c:pt idx="35">
                  <c:v>986.60219053527078</c:v>
                </c:pt>
                <c:pt idx="36">
                  <c:v>999.76776608890646</c:v>
                </c:pt>
                <c:pt idx="37">
                  <c:v>1012.3983600170974</c:v>
                </c:pt>
                <c:pt idx="38">
                  <c:v>1024.5103361023475</c:v>
                </c:pt>
                <c:pt idx="39">
                  <c:v>1036.1199519192874</c:v>
                </c:pt>
                <c:pt idx="40">
                  <c:v>1047.2433243080984</c:v>
                </c:pt>
                <c:pt idx="41">
                  <c:v>1058.018718376572</c:v>
                </c:pt>
                <c:pt idx="42">
                  <c:v>1068.5491801688559</c:v>
                </c:pt>
                <c:pt idx="43">
                  <c:v>1078.8977877648451</c:v>
                </c:pt>
                <c:pt idx="44">
                  <c:v>1089.1049946597243</c:v>
                </c:pt>
                <c:pt idx="45">
                  <c:v>1099.198814826173</c:v>
                </c:pt>
                <c:pt idx="46">
                  <c:v>1109.2005925401288</c:v>
                </c:pt>
                <c:pt idx="47">
                  <c:v>1119.127502138607</c:v>
                </c:pt>
                <c:pt idx="48">
                  <c:v>1128.9934271528662</c:v>
                </c:pt>
                <c:pt idx="49">
                  <c:v>1138.8091079415178</c:v>
                </c:pt>
                <c:pt idx="50">
                  <c:v>1148.581209974978</c:v>
                </c:pt>
                <c:pt idx="51">
                  <c:v>1158.3139244844174</c:v>
                </c:pt>
                <c:pt idx="52">
                  <c:v>1168.0094042996518</c:v>
                </c:pt>
                <c:pt idx="53">
                  <c:v>1177.6680299271111</c:v>
                </c:pt>
                <c:pt idx="54">
                  <c:v>1187.2890828541058</c:v>
                </c:pt>
                <c:pt idx="55">
                  <c:v>1196.870972116345</c:v>
                </c:pt>
                <c:pt idx="56">
                  <c:v>1206.4114251561705</c:v>
                </c:pt>
                <c:pt idx="57">
                  <c:v>1215.9079849636657</c:v>
                </c:pt>
                <c:pt idx="58">
                  <c:v>1225.3575571157523</c:v>
                </c:pt>
                <c:pt idx="59">
                  <c:v>1234.756777318385</c:v>
                </c:pt>
                <c:pt idx="60">
                  <c:v>1244.1021074067396</c:v>
                </c:pt>
                <c:pt idx="61">
                  <c:v>1253.3899721876101</c:v>
                </c:pt>
                <c:pt idx="62">
                  <c:v>1262.616836233052</c:v>
                </c:pt>
                <c:pt idx="63">
                  <c:v>1271.7792396037746</c:v>
                </c:pt>
                <c:pt idx="64">
                  <c:v>1280.8738693518671</c:v>
                </c:pt>
                <c:pt idx="65">
                  <c:v>1289.8974056279822</c:v>
                </c:pt>
                <c:pt idx="66">
                  <c:v>1298.846581336901</c:v>
                </c:pt>
                <c:pt idx="67">
                  <c:v>1307.7183855876106</c:v>
                </c:pt>
                <c:pt idx="68">
                  <c:v>1316.5099132200296</c:v>
                </c:pt>
                <c:pt idx="69">
                  <c:v>1325.2182666658584</c:v>
                </c:pt>
                <c:pt idx="70">
                  <c:v>1333.8410974974224</c:v>
                </c:pt>
                <c:pt idx="71">
                  <c:v>1342.3764641844541</c:v>
                </c:pt>
                <c:pt idx="72">
                  <c:v>1350.8225915397204</c:v>
                </c:pt>
                <c:pt idx="73">
                  <c:v>1359.1778749401592</c:v>
                </c:pt>
                <c:pt idx="74">
                  <c:v>1367.4408810681289</c:v>
                </c:pt>
                <c:pt idx="75">
                  <c:v>1375.6103468989443</c:v>
                </c:pt>
                <c:pt idx="76">
                  <c:v>1383.6851764307421</c:v>
                </c:pt>
                <c:pt idx="77">
                  <c:v>1391.664433389426</c:v>
                </c:pt>
                <c:pt idx="78">
                  <c:v>1399.5473305710843</c:v>
                </c:pt>
                <c:pt idx="79">
                  <c:v>1407.3332137097698</c:v>
                </c:pt>
                <c:pt idx="80">
                  <c:v>1415.0215494842964</c:v>
                </c:pt>
                <c:pt idx="81">
                  <c:v>1422.6119145482551</c:v>
                </c:pt>
                <c:pt idx="82">
                  <c:v>1430.1039853578377</c:v>
                </c:pt>
                <c:pt idx="83">
                  <c:v>1437.4975299564537</c:v>
                </c:pt>
                <c:pt idx="84">
                  <c:v>1444.7924003783769</c:v>
                </c:pt>
                <c:pt idx="85">
                  <c:v>1451.9885261159493</c:v>
                </c:pt>
                <c:pt idx="86">
                  <c:v>1459.0859092769176</c:v>
                </c:pt>
                <c:pt idx="87">
                  <c:v>1466.0846185066478</c:v>
                </c:pt>
                <c:pt idx="88">
                  <c:v>1472.9847843576244</c:v>
                </c:pt>
                <c:pt idx="89">
                  <c:v>1479.7865951503061</c:v>
                </c:pt>
                <c:pt idx="90">
                  <c:v>1486.4902934532192</c:v>
                </c:pt>
                <c:pt idx="91">
                  <c:v>1493.0961729102135</c:v>
                </c:pt>
                <c:pt idx="92">
                  <c:v>1499.6045753872806</c:v>
                </c:pt>
                <c:pt idx="93">
                  <c:v>1506.01588867209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928.15939046989433</c:v>
                </c:pt>
                <c:pt idx="32">
                  <c:v>943.6815709168435</c:v>
                </c:pt>
                <c:pt idx="33">
                  <c:v>958.5842516691813</c:v>
                </c:pt>
                <c:pt idx="34">
                  <c:v>973.09376500925805</c:v>
                </c:pt>
                <c:pt idx="35">
                  <c:v>987.62723711284423</c:v>
                </c:pt>
                <c:pt idx="36">
                  <c:v>1002.3290632838732</c:v>
                </c:pt>
                <c:pt idx="37">
                  <c:v>1017.2631083109596</c:v>
                </c:pt>
                <c:pt idx="38">
                  <c:v>1032.477981098079</c:v>
                </c:pt>
                <c:pt idx="39">
                  <c:v>1048.0153666814394</c:v>
                </c:pt>
                <c:pt idx="40">
                  <c:v>1063.9130289157865</c:v>
                </c:pt>
                <c:pt idx="41">
                  <c:v>1080.2055485458691</c:v>
                </c:pt>
                <c:pt idx="42">
                  <c:v>1096.9240442856067</c:v>
                </c:pt>
                <c:pt idx="43">
                  <c:v>1114.0942235477098</c:v>
                </c:pt>
                <c:pt idx="44">
                  <c:v>1131.7386699356775</c:v>
                </c:pt>
                <c:pt idx="45">
                  <c:v>1149.8771462373631</c:v>
                </c:pt>
                <c:pt idx="46">
                  <c:v>1168.5266656825681</c:v>
                </c:pt>
                <c:pt idx="47">
                  <c:v>1187.7023059235964</c:v>
                </c:pt>
                <c:pt idx="48">
                  <c:v>1207.4172980019773</c:v>
                </c:pt>
                <c:pt idx="49">
                  <c:v>1227.6830539320899</c:v>
                </c:pt>
                <c:pt idx="50">
                  <c:v>1248.5097643607978</c:v>
                </c:pt>
                <c:pt idx="51">
                  <c:v>1269.9054124289732</c:v>
                </c:pt>
                <c:pt idx="52">
                  <c:v>1291.8761867491398</c:v>
                </c:pt>
                <c:pt idx="53">
                  <c:v>1314.4264390206149</c:v>
                </c:pt>
                <c:pt idx="54">
                  <c:v>1337.5587259267052</c:v>
                </c:pt>
                <c:pt idx="55">
                  <c:v>1361.2737711738653</c:v>
                </c:pt>
                <c:pt idx="56">
                  <c:v>1385.5703652625104</c:v>
                </c:pt>
                <c:pt idx="57">
                  <c:v>1410.4453318654723</c:v>
                </c:pt>
                <c:pt idx="58">
                  <c:v>1435.8931581705447</c:v>
                </c:pt>
                <c:pt idx="59">
                  <c:v>1461.9059880634034</c:v>
                </c:pt>
                <c:pt idx="60">
                  <c:v>1488.4738686695325</c:v>
                </c:pt>
                <c:pt idx="61">
                  <c:v>1515.5844259673697</c:v>
                </c:pt>
                <c:pt idx="62">
                  <c:v>1543.2226442773008</c:v>
                </c:pt>
                <c:pt idx="63">
                  <c:v>1571.3711607087089</c:v>
                </c:pt>
                <c:pt idx="64">
                  <c:v>1600.0101529426536</c:v>
                </c:pt>
                <c:pt idx="65">
                  <c:v>1629.1171430422564</c:v>
                </c:pt>
                <c:pt idx="66">
                  <c:v>1658.6671427274539</c:v>
                </c:pt>
                <c:pt idx="67">
                  <c:v>1688.6327684234016</c:v>
                </c:pt>
                <c:pt idx="68">
                  <c:v>1718.9843574450347</c:v>
                </c:pt>
                <c:pt idx="69">
                  <c:v>1749.690098721572</c:v>
                </c:pt>
                <c:pt idx="70">
                  <c:v>1780.7173749527324</c:v>
                </c:pt>
                <c:pt idx="71">
                  <c:v>1812.0326518001614</c:v>
                </c:pt>
                <c:pt idx="72">
                  <c:v>1843.6013488798394</c:v>
                </c:pt>
                <c:pt idx="73">
                  <c:v>1875.387879264066</c:v>
                </c:pt>
                <c:pt idx="74">
                  <c:v>1907.3557805852581</c:v>
                </c:pt>
                <c:pt idx="75">
                  <c:v>1939.4678937291615</c:v>
                </c:pt>
                <c:pt idx="76">
                  <c:v>1971.6865612281815</c:v>
                </c:pt>
                <c:pt idx="77">
                  <c:v>2003.9738284180746</c:v>
                </c:pt>
                <c:pt idx="78">
                  <c:v>2036.2916413642145</c:v>
                </c:pt>
                <c:pt idx="79">
                  <c:v>2068.6020298520066</c:v>
                </c:pt>
                <c:pt idx="80">
                  <c:v>2100.8673014863743</c:v>
                </c:pt>
                <c:pt idx="81">
                  <c:v>2133.0502340629041</c:v>
                </c:pt>
                <c:pt idx="82">
                  <c:v>2165.1142630809109</c:v>
                </c:pt>
                <c:pt idx="83">
                  <c:v>2197.0236663581904</c:v>
                </c:pt>
                <c:pt idx="84">
                  <c:v>2228.7437396036244</c:v>
                </c:pt>
                <c:pt idx="85">
                  <c:v>2260.240962044792</c:v>
                </c:pt>
                <c:pt idx="86">
                  <c:v>2291.4831531350337</c:v>
                </c:pt>
                <c:pt idx="87">
                  <c:v>2322.4396095788757</c:v>
                </c:pt>
                <c:pt idx="88">
                  <c:v>2353.0812300680723</c:v>
                </c:pt>
                <c:pt idx="89">
                  <c:v>2383.3806240066356</c:v>
                </c:pt>
                <c:pt idx="90">
                  <c:v>2413.3122041314423</c:v>
                </c:pt>
                <c:pt idx="91">
                  <c:v>2442.8522620319136</c:v>
                </c:pt>
                <c:pt idx="92">
                  <c:v>2471.9790263732184</c:v>
                </c:pt>
                <c:pt idx="93">
                  <c:v>2500.67270468343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928.15939046989433</c:v>
                </c:pt>
                <c:pt idx="32">
                  <c:v>943.6815709168435</c:v>
                </c:pt>
                <c:pt idx="33">
                  <c:v>958.5842516691813</c:v>
                </c:pt>
                <c:pt idx="34">
                  <c:v>973.30232809714335</c:v>
                </c:pt>
                <c:pt idx="35">
                  <c:v>988.15021611212546</c:v>
                </c:pt>
                <c:pt idx="36">
                  <c:v>1003.3348122619916</c:v>
                </c:pt>
                <c:pt idx="37">
                  <c:v>1018.9838461239789</c:v>
                </c:pt>
                <c:pt idx="38">
                  <c:v>1035.1945355060257</c:v>
                </c:pt>
                <c:pt idx="39">
                  <c:v>1052.0502504805579</c:v>
                </c:pt>
                <c:pt idx="40">
                  <c:v>1069.6265187570632</c:v>
                </c:pt>
                <c:pt idx="41">
                  <c:v>1087.9925018250397</c:v>
                </c:pt>
                <c:pt idx="42">
                  <c:v>1107.2104371123262</c:v>
                </c:pt>
                <c:pt idx="43">
                  <c:v>1127.3317394443436</c:v>
                </c:pt>
                <c:pt idx="44">
                  <c:v>1148.4015760280918</c:v>
                </c:pt>
                <c:pt idx="45">
                  <c:v>1170.4594724392759</c:v>
                </c:pt>
                <c:pt idx="46">
                  <c:v>1193.5394551374939</c:v>
                </c:pt>
                <c:pt idx="47">
                  <c:v>1217.6716794273618</c:v>
                </c:pt>
                <c:pt idx="48">
                  <c:v>1242.8826073919349</c:v>
                </c:pt>
                <c:pt idx="49">
                  <c:v>1269.1950630599745</c:v>
                </c:pt>
                <c:pt idx="50">
                  <c:v>1296.6294277252016</c:v>
                </c:pt>
                <c:pt idx="51">
                  <c:v>1325.2016676693622</c:v>
                </c:pt>
                <c:pt idx="52">
                  <c:v>1354.9241601175054</c:v>
                </c:pt>
                <c:pt idx="53">
                  <c:v>1385.8056084682685</c:v>
                </c:pt>
                <c:pt idx="54">
                  <c:v>1417.8511260882588</c:v>
                </c:pt>
                <c:pt idx="55">
                  <c:v>1451.0621603903919</c:v>
                </c:pt>
                <c:pt idx="56">
                  <c:v>1485.4362923754934</c:v>
                </c:pt>
                <c:pt idx="57">
                  <c:v>1520.9671693892269</c:v>
                </c:pt>
                <c:pt idx="58">
                  <c:v>1557.6437658071845</c:v>
                </c:pt>
                <c:pt idx="59">
                  <c:v>1595.450369400713</c:v>
                </c:pt>
                <c:pt idx="60">
                  <c:v>1634.3670744207827</c:v>
                </c:pt>
                <c:pt idx="61">
                  <c:v>1674.3691328242685</c:v>
                </c:pt>
                <c:pt idx="62">
                  <c:v>1715.4265132519417</c:v>
                </c:pt>
                <c:pt idx="63">
                  <c:v>1757.5044899225677</c:v>
                </c:pt>
                <c:pt idx="64">
                  <c:v>1800.5634181982698</c:v>
                </c:pt>
                <c:pt idx="65">
                  <c:v>1844.558342205285</c:v>
                </c:pt>
                <c:pt idx="66">
                  <c:v>1889.4392853834927</c:v>
                </c:pt>
                <c:pt idx="67">
                  <c:v>1935.1514805831994</c:v>
                </c:pt>
                <c:pt idx="68">
                  <c:v>1981.6356024342754</c:v>
                </c:pt>
                <c:pt idx="69">
                  <c:v>2028.8280287951629</c:v>
                </c:pt>
                <c:pt idx="70">
                  <c:v>2076.6635250652948</c:v>
                </c:pt>
                <c:pt idx="71">
                  <c:v>2125.0750225679626</c:v>
                </c:pt>
                <c:pt idx="72">
                  <c:v>2173.9933605351298</c:v>
                </c:pt>
                <c:pt idx="73">
                  <c:v>2223.3473651113927</c:v>
                </c:pt>
                <c:pt idx="74">
                  <c:v>2273.0641115615881</c:v>
                </c:pt>
                <c:pt idx="75">
                  <c:v>2323.0692816572077</c:v>
                </c:pt>
                <c:pt idx="76">
                  <c:v>2373.2875604630594</c:v>
                </c:pt>
                <c:pt idx="77">
                  <c:v>2423.6430386506586</c:v>
                </c:pt>
                <c:pt idx="78">
                  <c:v>2474.0596083507494</c:v>
                </c:pt>
                <c:pt idx="79">
                  <c:v>2524.4613291341429</c:v>
                </c:pt>
                <c:pt idx="80">
                  <c:v>2574.7728162106901</c:v>
                </c:pt>
                <c:pt idx="81">
                  <c:v>2624.9196251715612</c:v>
                </c:pt>
                <c:pt idx="82">
                  <c:v>2674.8286270153862</c:v>
                </c:pt>
                <c:pt idx="83">
                  <c:v>2724.428377377757</c:v>
                </c:pt>
                <c:pt idx="84">
                  <c:v>2773.6494676764387</c:v>
                </c:pt>
                <c:pt idx="85">
                  <c:v>2822.4248563665824</c:v>
                </c:pt>
                <c:pt idx="86">
                  <c:v>2870.6901823548797</c:v>
                </c:pt>
                <c:pt idx="87">
                  <c:v>2918.3840390503728</c:v>
                </c:pt>
                <c:pt idx="88">
                  <c:v>2965.4482238365763</c:v>
                </c:pt>
                <c:pt idx="89">
                  <c:v>3011.827955521514</c:v>
                </c:pt>
                <c:pt idx="90">
                  <c:v>3057.472059578939</c:v>
                </c:pt>
                <c:pt idx="91">
                  <c:v>3102.3331191876932</c:v>
                </c:pt>
                <c:pt idx="92">
                  <c:v>3146.367591678114</c:v>
                </c:pt>
                <c:pt idx="93">
                  <c:v>3189.5358921063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804</c:v>
                </c:pt>
                <c:pt idx="1">
                  <c:v>795</c:v>
                </c:pt>
                <c:pt idx="2">
                  <c:v>791</c:v>
                </c:pt>
                <c:pt idx="3">
                  <c:v>774</c:v>
                </c:pt>
                <c:pt idx="4">
                  <c:v>773</c:v>
                </c:pt>
                <c:pt idx="5">
                  <c:v>813</c:v>
                </c:pt>
                <c:pt idx="6">
                  <c:v>797</c:v>
                </c:pt>
                <c:pt idx="7">
                  <c:v>757</c:v>
                </c:pt>
                <c:pt idx="8">
                  <c:v>741</c:v>
                </c:pt>
                <c:pt idx="9">
                  <c:v>710</c:v>
                </c:pt>
                <c:pt idx="10">
                  <c:v>674</c:v>
                </c:pt>
                <c:pt idx="11">
                  <c:v>660</c:v>
                </c:pt>
                <c:pt idx="12">
                  <c:v>718</c:v>
                </c:pt>
                <c:pt idx="13">
                  <c:v>711</c:v>
                </c:pt>
                <c:pt idx="14">
                  <c:v>679</c:v>
                </c:pt>
                <c:pt idx="15">
                  <c:v>654</c:v>
                </c:pt>
                <c:pt idx="16">
                  <c:v>619</c:v>
                </c:pt>
                <c:pt idx="17">
                  <c:v>579</c:v>
                </c:pt>
                <c:pt idx="18">
                  <c:v>571</c:v>
                </c:pt>
                <c:pt idx="19">
                  <c:v>590</c:v>
                </c:pt>
                <c:pt idx="20">
                  <c:v>569</c:v>
                </c:pt>
                <c:pt idx="21">
                  <c:v>575</c:v>
                </c:pt>
                <c:pt idx="22">
                  <c:v>533</c:v>
                </c:pt>
                <c:pt idx="23">
                  <c:v>470</c:v>
                </c:pt>
                <c:pt idx="24">
                  <c:v>438</c:v>
                </c:pt>
                <c:pt idx="25">
                  <c:v>433</c:v>
                </c:pt>
                <c:pt idx="26">
                  <c:v>456</c:v>
                </c:pt>
                <c:pt idx="27">
                  <c:v>442</c:v>
                </c:pt>
                <c:pt idx="28">
                  <c:v>449</c:v>
                </c:pt>
                <c:pt idx="29">
                  <c:v>412</c:v>
                </c:pt>
                <c:pt idx="30">
                  <c:v>366</c:v>
                </c:pt>
                <c:pt idx="31">
                  <c:v>317</c:v>
                </c:pt>
                <c:pt idx="32">
                  <c:v>323</c:v>
                </c:pt>
                <c:pt idx="33">
                  <c:v>351</c:v>
                </c:pt>
                <c:pt idx="34">
                  <c:v>337</c:v>
                </c:pt>
                <c:pt idx="35">
                  <c:v>340</c:v>
                </c:pt>
                <c:pt idx="36">
                  <c:v>321</c:v>
                </c:pt>
                <c:pt idx="37">
                  <c:v>290</c:v>
                </c:pt>
                <c:pt idx="38">
                  <c:v>271</c:v>
                </c:pt>
                <c:pt idx="39">
                  <c:v>255</c:v>
                </c:pt>
                <c:pt idx="40">
                  <c:v>262</c:v>
                </c:pt>
                <c:pt idx="41">
                  <c:v>253</c:v>
                </c:pt>
                <c:pt idx="42">
                  <c:v>236</c:v>
                </c:pt>
                <c:pt idx="43">
                  <c:v>199</c:v>
                </c:pt>
                <c:pt idx="44">
                  <c:v>204</c:v>
                </c:pt>
                <c:pt idx="45">
                  <c:v>180</c:v>
                </c:pt>
                <c:pt idx="46">
                  <c:v>183</c:v>
                </c:pt>
                <c:pt idx="47">
                  <c:v>203</c:v>
                </c:pt>
                <c:pt idx="48">
                  <c:v>224</c:v>
                </c:pt>
                <c:pt idx="49">
                  <c:v>213</c:v>
                </c:pt>
                <c:pt idx="50">
                  <c:v>209</c:v>
                </c:pt>
                <c:pt idx="51">
                  <c:v>224</c:v>
                </c:pt>
                <c:pt idx="52">
                  <c:v>234</c:v>
                </c:pt>
                <c:pt idx="53">
                  <c:v>250</c:v>
                </c:pt>
                <c:pt idx="54">
                  <c:v>300</c:v>
                </c:pt>
                <c:pt idx="55">
                  <c:v>329</c:v>
                </c:pt>
                <c:pt idx="56">
                  <c:v>347</c:v>
                </c:pt>
                <c:pt idx="57">
                  <c:v>357</c:v>
                </c:pt>
                <c:pt idx="58">
                  <c:v>360</c:v>
                </c:pt>
                <c:pt idx="59">
                  <c:v>342</c:v>
                </c:pt>
                <c:pt idx="60">
                  <c:v>363</c:v>
                </c:pt>
                <c:pt idx="61">
                  <c:v>421</c:v>
                </c:pt>
                <c:pt idx="62">
                  <c:v>432</c:v>
                </c:pt>
                <c:pt idx="63">
                  <c:v>443</c:v>
                </c:pt>
                <c:pt idx="64">
                  <c:v>453</c:v>
                </c:pt>
                <c:pt idx="65">
                  <c:v>452</c:v>
                </c:pt>
                <c:pt idx="66">
                  <c:v>424</c:v>
                </c:pt>
                <c:pt idx="67">
                  <c:v>427</c:v>
                </c:pt>
                <c:pt idx="68">
                  <c:v>512</c:v>
                </c:pt>
                <c:pt idx="69">
                  <c:v>501</c:v>
                </c:pt>
                <c:pt idx="70">
                  <c:v>495</c:v>
                </c:pt>
                <c:pt idx="71">
                  <c:v>473</c:v>
                </c:pt>
                <c:pt idx="72">
                  <c:v>485</c:v>
                </c:pt>
                <c:pt idx="73">
                  <c:v>459</c:v>
                </c:pt>
                <c:pt idx="74">
                  <c:v>457</c:v>
                </c:pt>
                <c:pt idx="75">
                  <c:v>492</c:v>
                </c:pt>
                <c:pt idx="76">
                  <c:v>452</c:v>
                </c:pt>
                <c:pt idx="77">
                  <c:v>451</c:v>
                </c:pt>
                <c:pt idx="78">
                  <c:v>430</c:v>
                </c:pt>
                <c:pt idx="79">
                  <c:v>404</c:v>
                </c:pt>
                <c:pt idx="80">
                  <c:v>384</c:v>
                </c:pt>
                <c:pt idx="81">
                  <c:v>372</c:v>
                </c:pt>
                <c:pt idx="82">
                  <c:v>408</c:v>
                </c:pt>
                <c:pt idx="83">
                  <c:v>387</c:v>
                </c:pt>
                <c:pt idx="84">
                  <c:v>376</c:v>
                </c:pt>
                <c:pt idx="85">
                  <c:v>372</c:v>
                </c:pt>
                <c:pt idx="86">
                  <c:v>346</c:v>
                </c:pt>
                <c:pt idx="87">
                  <c:v>316</c:v>
                </c:pt>
                <c:pt idx="88">
                  <c:v>304</c:v>
                </c:pt>
                <c:pt idx="89">
                  <c:v>321</c:v>
                </c:pt>
                <c:pt idx="90">
                  <c:v>310</c:v>
                </c:pt>
                <c:pt idx="91">
                  <c:v>280</c:v>
                </c:pt>
                <c:pt idx="92">
                  <c:v>277</c:v>
                </c:pt>
                <c:pt idx="93">
                  <c:v>2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59.43000222556987</c:v>
                </c:pt>
                <c:pt idx="32">
                  <c:v>443.35468630748414</c:v>
                </c:pt>
                <c:pt idx="33">
                  <c:v>427.5773560067401</c:v>
                </c:pt>
                <c:pt idx="34">
                  <c:v>412.11133492409925</c:v>
                </c:pt>
                <c:pt idx="35">
                  <c:v>396.96797117262821</c:v>
                </c:pt>
                <c:pt idx="36">
                  <c:v>382.58777077618436</c:v>
                </c:pt>
                <c:pt idx="37">
                  <c:v>368.51633646457515</c:v>
                </c:pt>
                <c:pt idx="38">
                  <c:v>354.76146760222656</c:v>
                </c:pt>
                <c:pt idx="39">
                  <c:v>341.32964107851262</c:v>
                </c:pt>
                <c:pt idx="40">
                  <c:v>328.22646621232246</c:v>
                </c:pt>
                <c:pt idx="41">
                  <c:v>315.70962656115989</c:v>
                </c:pt>
                <c:pt idx="42">
                  <c:v>303.95347716456513</c:v>
                </c:pt>
                <c:pt idx="43">
                  <c:v>293.04056403772171</c:v>
                </c:pt>
                <c:pt idx="44">
                  <c:v>282.99740530358127</c:v>
                </c:pt>
                <c:pt idx="45">
                  <c:v>273.81948978579902</c:v>
                </c:pt>
                <c:pt idx="46">
                  <c:v>265.48531798651942</c:v>
                </c:pt>
                <c:pt idx="47">
                  <c:v>257.96379231309572</c:v>
                </c:pt>
                <c:pt idx="48">
                  <c:v>251.21557616097857</c:v>
                </c:pt>
                <c:pt idx="49">
                  <c:v>245.19487783597668</c:v>
                </c:pt>
                <c:pt idx="50">
                  <c:v>239.84972948626751</c:v>
                </c:pt>
                <c:pt idx="51">
                  <c:v>235.1268963091986</c:v>
                </c:pt>
                <c:pt idx="52">
                  <c:v>230.97123960288425</c:v>
                </c:pt>
                <c:pt idx="53">
                  <c:v>227.32847425398026</c:v>
                </c:pt>
                <c:pt idx="54">
                  <c:v>224.146904930419</c:v>
                </c:pt>
                <c:pt idx="55">
                  <c:v>221.3719488684371</c:v>
                </c:pt>
                <c:pt idx="56">
                  <c:v>218.93922864240517</c:v>
                </c:pt>
                <c:pt idx="57">
                  <c:v>216.78479298390124</c:v>
                </c:pt>
                <c:pt idx="58">
                  <c:v>214.85328244821878</c:v>
                </c:pt>
                <c:pt idx="59">
                  <c:v>213.09811862353769</c:v>
                </c:pt>
                <c:pt idx="60">
                  <c:v>211.47983760107908</c:v>
                </c:pt>
                <c:pt idx="61">
                  <c:v>209.96492834818073</c:v>
                </c:pt>
                <c:pt idx="62">
                  <c:v>208.52450156810082</c:v>
                </c:pt>
                <c:pt idx="63">
                  <c:v>207.13194191896133</c:v>
                </c:pt>
                <c:pt idx="64">
                  <c:v>205.76403591701305</c:v>
                </c:pt>
                <c:pt idx="65">
                  <c:v>204.4018812408649</c:v>
                </c:pt>
                <c:pt idx="66">
                  <c:v>203.02993136991242</c:v>
                </c:pt>
                <c:pt idx="67">
                  <c:v>201.63628406556063</c:v>
                </c:pt>
                <c:pt idx="68">
                  <c:v>200.21187788967521</c:v>
                </c:pt>
                <c:pt idx="69">
                  <c:v>198.74986697977923</c:v>
                </c:pt>
                <c:pt idx="70">
                  <c:v>197.24557626487518</c:v>
                </c:pt>
                <c:pt idx="71">
                  <c:v>195.69606883080732</c:v>
                </c:pt>
                <c:pt idx="72">
                  <c:v>194.09981869399542</c:v>
                </c:pt>
                <c:pt idx="73">
                  <c:v>192.45623855402417</c:v>
                </c:pt>
                <c:pt idx="74">
                  <c:v>190.76562498274143</c:v>
                </c:pt>
                <c:pt idx="75">
                  <c:v>189.02927415198479</c:v>
                </c:pt>
                <c:pt idx="76">
                  <c:v>187.2491944930801</c:v>
                </c:pt>
                <c:pt idx="77">
                  <c:v>185.42776310196064</c:v>
                </c:pt>
                <c:pt idx="78">
                  <c:v>183.56730399038989</c:v>
                </c:pt>
                <c:pt idx="79">
                  <c:v>181.67017861764089</c:v>
                </c:pt>
                <c:pt idx="80">
                  <c:v>179.73867072661241</c:v>
                </c:pt>
                <c:pt idx="81">
                  <c:v>177.77539096222966</c:v>
                </c:pt>
                <c:pt idx="82">
                  <c:v>175.78315868822997</c:v>
                </c:pt>
                <c:pt idx="83">
                  <c:v>173.76477747347329</c:v>
                </c:pt>
                <c:pt idx="84">
                  <c:v>171.72306178676141</c:v>
                </c:pt>
                <c:pt idx="85">
                  <c:v>169.6607483305863</c:v>
                </c:pt>
                <c:pt idx="86">
                  <c:v>167.5804576607481</c:v>
                </c:pt>
                <c:pt idx="87">
                  <c:v>165.48469138060142</c:v>
                </c:pt>
                <c:pt idx="88">
                  <c:v>163.37583155219798</c:v>
                </c:pt>
                <c:pt idx="89">
                  <c:v>161.25604447694755</c:v>
                </c:pt>
                <c:pt idx="90">
                  <c:v>159.12739742653827</c:v>
                </c:pt>
                <c:pt idx="91">
                  <c:v>156.99186822544155</c:v>
                </c:pt>
                <c:pt idx="92">
                  <c:v>154.8513293673862</c:v>
                </c:pt>
                <c:pt idx="93">
                  <c:v>152.707540531954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59.43000222556987</c:v>
                </c:pt>
                <c:pt idx="32">
                  <c:v>443.35468630748414</c:v>
                </c:pt>
                <c:pt idx="33">
                  <c:v>427.5773560067401</c:v>
                </c:pt>
                <c:pt idx="34">
                  <c:v>412.97546534784237</c:v>
                </c:pt>
                <c:pt idx="35">
                  <c:v>400.14153876200533</c:v>
                </c:pt>
                <c:pt idx="36">
                  <c:v>389.81848811793009</c:v>
                </c:pt>
                <c:pt idx="37">
                  <c:v>381.69059858716076</c:v>
                </c:pt>
                <c:pt idx="38">
                  <c:v>375.82340077741895</c:v>
                </c:pt>
                <c:pt idx="39">
                  <c:v>369.95620296767714</c:v>
                </c:pt>
                <c:pt idx="40">
                  <c:v>369.30466988143303</c:v>
                </c:pt>
                <c:pt idx="41">
                  <c:v>369.78060059079041</c:v>
                </c:pt>
                <c:pt idx="42">
                  <c:v>371.36030994732704</c:v>
                </c:pt>
                <c:pt idx="43">
                  <c:v>374.00895077194167</c:v>
                </c:pt>
                <c:pt idx="44">
                  <c:v>377.68778450421769</c:v>
                </c:pt>
                <c:pt idx="45">
                  <c:v>382.35207348858614</c:v>
                </c:pt>
                <c:pt idx="46">
                  <c:v>387.95512156221179</c:v>
                </c:pt>
                <c:pt idx="47">
                  <c:v>394.45067007203363</c:v>
                </c:pt>
                <c:pt idx="48">
                  <c:v>401.78312478670614</c:v>
                </c:pt>
                <c:pt idx="49">
                  <c:v>409.87531222488531</c:v>
                </c:pt>
                <c:pt idx="50">
                  <c:v>418.64557445531238</c:v>
                </c:pt>
                <c:pt idx="51">
                  <c:v>428.02100867419477</c:v>
                </c:pt>
                <c:pt idx="52">
                  <c:v>437.93724962988586</c:v>
                </c:pt>
                <c:pt idx="53">
                  <c:v>448.33560333303933</c:v>
                </c:pt>
                <c:pt idx="54">
                  <c:v>459.16132993879529</c:v>
                </c:pt>
                <c:pt idx="55">
                  <c:v>470.36170458115294</c:v>
                </c:pt>
                <c:pt idx="56">
                  <c:v>481.88234103596739</c:v>
                </c:pt>
                <c:pt idx="57">
                  <c:v>493.66938721810948</c:v>
                </c:pt>
                <c:pt idx="58">
                  <c:v>505.67130487220425</c:v>
                </c:pt>
                <c:pt idx="59">
                  <c:v>517.83743082039632</c:v>
                </c:pt>
                <c:pt idx="60">
                  <c:v>530.11881846956737</c:v>
                </c:pt>
                <c:pt idx="61">
                  <c:v>542.46721442371575</c:v>
                </c:pt>
                <c:pt idx="62">
                  <c:v>554.8343673763402</c:v>
                </c:pt>
                <c:pt idx="63">
                  <c:v>567.17109410792477</c:v>
                </c:pt>
                <c:pt idx="64">
                  <c:v>579.42728870050939</c:v>
                </c:pt>
                <c:pt idx="65">
                  <c:v>591.5522345968576</c:v>
                </c:pt>
                <c:pt idx="66">
                  <c:v>603.49441956472265</c:v>
                </c:pt>
                <c:pt idx="67">
                  <c:v>615.20199118050959</c:v>
                </c:pt>
                <c:pt idx="68">
                  <c:v>626.62347853154563</c:v>
                </c:pt>
                <c:pt idx="69">
                  <c:v>637.70780922612914</c:v>
                </c:pt>
                <c:pt idx="70">
                  <c:v>648.40674048644155</c:v>
                </c:pt>
                <c:pt idx="71">
                  <c:v>658.67398730723153</c:v>
                </c:pt>
                <c:pt idx="72">
                  <c:v>668.4651735804174</c:v>
                </c:pt>
                <c:pt idx="73">
                  <c:v>677.73768255280754</c:v>
                </c:pt>
                <c:pt idx="74">
                  <c:v>686.45159355609633</c:v>
                </c:pt>
                <c:pt idx="75">
                  <c:v>694.56976994347997</c:v>
                </c:pt>
                <c:pt idx="76">
                  <c:v>702.0578034404856</c:v>
                </c:pt>
                <c:pt idx="77">
                  <c:v>708.88436179202097</c:v>
                </c:pt>
                <c:pt idx="78">
                  <c:v>715.02134333653839</c:v>
                </c:pt>
                <c:pt idx="79">
                  <c:v>720.44402678573408</c:v>
                </c:pt>
                <c:pt idx="80">
                  <c:v>725.13124867136071</c:v>
                </c:pt>
                <c:pt idx="81">
                  <c:v>729.06553444194299</c:v>
                </c:pt>
                <c:pt idx="82">
                  <c:v>732.23306357573779</c:v>
                </c:pt>
                <c:pt idx="83">
                  <c:v>734.62395681526823</c:v>
                </c:pt>
                <c:pt idx="84">
                  <c:v>736.23229493380177</c:v>
                </c:pt>
                <c:pt idx="85">
                  <c:v>737.05600134087479</c:v>
                </c:pt>
                <c:pt idx="86">
                  <c:v>737.09678202448004</c:v>
                </c:pt>
                <c:pt idx="87">
                  <c:v>736.36011583154834</c:v>
                </c:pt>
                <c:pt idx="88">
                  <c:v>734.85520463212799</c:v>
                </c:pt>
                <c:pt idx="89">
                  <c:v>732.5948844078581</c:v>
                </c:pt>
                <c:pt idx="90">
                  <c:v>729.59549470704144</c:v>
                </c:pt>
                <c:pt idx="91">
                  <c:v>725.87671021473341</c:v>
                </c:pt>
                <c:pt idx="92">
                  <c:v>721.4613155220012</c:v>
                </c:pt>
                <c:pt idx="93">
                  <c:v>716.374973590085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59.43000222556987</c:v>
                </c:pt>
                <c:pt idx="32">
                  <c:v>443.35468630748414</c:v>
                </c:pt>
                <c:pt idx="33">
                  <c:v>427.5773560067401</c:v>
                </c:pt>
                <c:pt idx="34">
                  <c:v>412.97546534784237</c:v>
                </c:pt>
                <c:pt idx="35">
                  <c:v>400.14153876200533</c:v>
                </c:pt>
                <c:pt idx="36">
                  <c:v>389.81848811793009</c:v>
                </c:pt>
                <c:pt idx="37">
                  <c:v>381.69059858716076</c:v>
                </c:pt>
                <c:pt idx="38">
                  <c:v>375.82340077741895</c:v>
                </c:pt>
                <c:pt idx="39">
                  <c:v>372.23921809836452</c:v>
                </c:pt>
                <c:pt idx="40">
                  <c:v>370.93615192587623</c:v>
                </c:pt>
                <c:pt idx="41">
                  <c:v>371.88801334459095</c:v>
                </c:pt>
                <c:pt idx="42">
                  <c:v>375.0474320576642</c:v>
                </c:pt>
                <c:pt idx="43">
                  <c:v>380.34471370689363</c:v>
                </c:pt>
                <c:pt idx="44">
                  <c:v>387.7023811714455</c:v>
                </c:pt>
                <c:pt idx="45">
                  <c:v>397.03095914018252</c:v>
                </c:pt>
                <c:pt idx="46">
                  <c:v>408.23705528743375</c:v>
                </c:pt>
                <c:pt idx="47">
                  <c:v>421.22815230707755</c:v>
                </c:pt>
                <c:pt idx="48">
                  <c:v>435.89306173642262</c:v>
                </c:pt>
                <c:pt idx="49">
                  <c:v>452.07743661278079</c:v>
                </c:pt>
                <c:pt idx="50">
                  <c:v>469.617961073635</c:v>
                </c:pt>
                <c:pt idx="51">
                  <c:v>488.36882951139989</c:v>
                </c:pt>
                <c:pt idx="52">
                  <c:v>508.20131142278177</c:v>
                </c:pt>
                <c:pt idx="53">
                  <c:v>528.99801882908878</c:v>
                </c:pt>
                <c:pt idx="54">
                  <c:v>550.64947204060093</c:v>
                </c:pt>
                <c:pt idx="55">
                  <c:v>573.0502213253161</c:v>
                </c:pt>
                <c:pt idx="56">
                  <c:v>596.09149423494478</c:v>
                </c:pt>
                <c:pt idx="57">
                  <c:v>619.66558659922919</c:v>
                </c:pt>
                <c:pt idx="58">
                  <c:v>643.66942190741861</c:v>
                </c:pt>
                <c:pt idx="59">
                  <c:v>668.00167380380299</c:v>
                </c:pt>
                <c:pt idx="60">
                  <c:v>692.56444910214509</c:v>
                </c:pt>
                <c:pt idx="61">
                  <c:v>717.26124101044161</c:v>
                </c:pt>
                <c:pt idx="62">
                  <c:v>741.99554691569062</c:v>
                </c:pt>
                <c:pt idx="63">
                  <c:v>766.66900037885978</c:v>
                </c:pt>
                <c:pt idx="64">
                  <c:v>791.18138956402913</c:v>
                </c:pt>
                <c:pt idx="65">
                  <c:v>815.43128135672509</c:v>
                </c:pt>
                <c:pt idx="66">
                  <c:v>839.3156512924553</c:v>
                </c:pt>
                <c:pt idx="67">
                  <c:v>862.73079452402908</c:v>
                </c:pt>
                <c:pt idx="68">
                  <c:v>885.57376922610138</c:v>
                </c:pt>
                <c:pt idx="69">
                  <c:v>907.74243061526818</c:v>
                </c:pt>
                <c:pt idx="70">
                  <c:v>929.1402931358931</c:v>
                </c:pt>
                <c:pt idx="71">
                  <c:v>949.6747867774734</c:v>
                </c:pt>
                <c:pt idx="72">
                  <c:v>969.25715932384514</c:v>
                </c:pt>
                <c:pt idx="73">
                  <c:v>987.80217726862531</c:v>
                </c:pt>
                <c:pt idx="74">
                  <c:v>1005.2299992752028</c:v>
                </c:pt>
                <c:pt idx="75">
                  <c:v>1021.4663520499704</c:v>
                </c:pt>
                <c:pt idx="76">
                  <c:v>1036.4424190439815</c:v>
                </c:pt>
                <c:pt idx="77">
                  <c:v>1050.0955357470516</c:v>
                </c:pt>
                <c:pt idx="78">
                  <c:v>1062.3694988360871</c:v>
                </c:pt>
                <c:pt idx="79">
                  <c:v>1073.2148657344781</c:v>
                </c:pt>
                <c:pt idx="80">
                  <c:v>1082.5893095057318</c:v>
                </c:pt>
                <c:pt idx="81">
                  <c:v>1090.4578810468961</c:v>
                </c:pt>
                <c:pt idx="82">
                  <c:v>1096.7929393144855</c:v>
                </c:pt>
                <c:pt idx="83">
                  <c:v>1101.5747257935466</c:v>
                </c:pt>
                <c:pt idx="84">
                  <c:v>1104.7914020306134</c:v>
                </c:pt>
                <c:pt idx="85">
                  <c:v>1106.4388148447599</c:v>
                </c:pt>
                <c:pt idx="86">
                  <c:v>1106.5203762119702</c:v>
                </c:pt>
                <c:pt idx="87">
                  <c:v>1105.0470438261066</c:v>
                </c:pt>
                <c:pt idx="88">
                  <c:v>1102.0372214272659</c:v>
                </c:pt>
                <c:pt idx="89">
                  <c:v>1097.5165809787261</c:v>
                </c:pt>
                <c:pt idx="90">
                  <c:v>1091.517801577093</c:v>
                </c:pt>
                <c:pt idx="91">
                  <c:v>1084.0802325924765</c:v>
                </c:pt>
                <c:pt idx="92">
                  <c:v>1075.2494432070121</c:v>
                </c:pt>
                <c:pt idx="93">
                  <c:v>1065.07675934318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39</c:v>
                </c:pt>
                <c:pt idx="1">
                  <c:v>71</c:v>
                </c:pt>
                <c:pt idx="2">
                  <c:v>95</c:v>
                </c:pt>
                <c:pt idx="3">
                  <c:v>120</c:v>
                </c:pt>
                <c:pt idx="4">
                  <c:v>149</c:v>
                </c:pt>
                <c:pt idx="5">
                  <c:v>181</c:v>
                </c:pt>
                <c:pt idx="6">
                  <c:v>210</c:v>
                </c:pt>
                <c:pt idx="7">
                  <c:v>232</c:v>
                </c:pt>
                <c:pt idx="8">
                  <c:v>249</c:v>
                </c:pt>
                <c:pt idx="9">
                  <c:v>272</c:v>
                </c:pt>
                <c:pt idx="10">
                  <c:v>288</c:v>
                </c:pt>
                <c:pt idx="11">
                  <c:v>301</c:v>
                </c:pt>
                <c:pt idx="12">
                  <c:v>324</c:v>
                </c:pt>
                <c:pt idx="13">
                  <c:v>351</c:v>
                </c:pt>
                <c:pt idx="14">
                  <c:v>363</c:v>
                </c:pt>
                <c:pt idx="15">
                  <c:v>373</c:v>
                </c:pt>
                <c:pt idx="16">
                  <c:v>392</c:v>
                </c:pt>
                <c:pt idx="17">
                  <c:v>403</c:v>
                </c:pt>
                <c:pt idx="18">
                  <c:v>417</c:v>
                </c:pt>
                <c:pt idx="19">
                  <c:v>441</c:v>
                </c:pt>
                <c:pt idx="20">
                  <c:v>460</c:v>
                </c:pt>
                <c:pt idx="21">
                  <c:v>479</c:v>
                </c:pt>
                <c:pt idx="22">
                  <c:v>493</c:v>
                </c:pt>
                <c:pt idx="23">
                  <c:v>500</c:v>
                </c:pt>
                <c:pt idx="24">
                  <c:v>510</c:v>
                </c:pt>
                <c:pt idx="25">
                  <c:v>522</c:v>
                </c:pt>
                <c:pt idx="26">
                  <c:v>537</c:v>
                </c:pt>
                <c:pt idx="27">
                  <c:v>554</c:v>
                </c:pt>
                <c:pt idx="28">
                  <c:v>565</c:v>
                </c:pt>
                <c:pt idx="29">
                  <c:v>577</c:v>
                </c:pt>
                <c:pt idx="30">
                  <c:v>587</c:v>
                </c:pt>
                <c:pt idx="31">
                  <c:v>594</c:v>
                </c:pt>
                <c:pt idx="32">
                  <c:v>603</c:v>
                </c:pt>
                <c:pt idx="33">
                  <c:v>620</c:v>
                </c:pt>
                <c:pt idx="34">
                  <c:v>627</c:v>
                </c:pt>
                <c:pt idx="35">
                  <c:v>636</c:v>
                </c:pt>
                <c:pt idx="36">
                  <c:v>642</c:v>
                </c:pt>
                <c:pt idx="37">
                  <c:v>654</c:v>
                </c:pt>
                <c:pt idx="38">
                  <c:v>662</c:v>
                </c:pt>
                <c:pt idx="39">
                  <c:v>670</c:v>
                </c:pt>
                <c:pt idx="40">
                  <c:v>676</c:v>
                </c:pt>
                <c:pt idx="41">
                  <c:v>682</c:v>
                </c:pt>
                <c:pt idx="42">
                  <c:v>684</c:v>
                </c:pt>
                <c:pt idx="43">
                  <c:v>687</c:v>
                </c:pt>
                <c:pt idx="44">
                  <c:v>693</c:v>
                </c:pt>
                <c:pt idx="45">
                  <c:v>696</c:v>
                </c:pt>
                <c:pt idx="46">
                  <c:v>698</c:v>
                </c:pt>
                <c:pt idx="47">
                  <c:v>706</c:v>
                </c:pt>
                <c:pt idx="48">
                  <c:v>720</c:v>
                </c:pt>
                <c:pt idx="49">
                  <c:v>724</c:v>
                </c:pt>
                <c:pt idx="50">
                  <c:v>733</c:v>
                </c:pt>
                <c:pt idx="51">
                  <c:v>748</c:v>
                </c:pt>
                <c:pt idx="52">
                  <c:v>756</c:v>
                </c:pt>
                <c:pt idx="53">
                  <c:v>768</c:v>
                </c:pt>
                <c:pt idx="54">
                  <c:v>785</c:v>
                </c:pt>
                <c:pt idx="55">
                  <c:v>807</c:v>
                </c:pt>
                <c:pt idx="56">
                  <c:v>829</c:v>
                </c:pt>
                <c:pt idx="57">
                  <c:v>861</c:v>
                </c:pt>
                <c:pt idx="58">
                  <c:v>888</c:v>
                </c:pt>
                <c:pt idx="59">
                  <c:v>906</c:v>
                </c:pt>
                <c:pt idx="60">
                  <c:v>928</c:v>
                </c:pt>
                <c:pt idx="61">
                  <c:v>969</c:v>
                </c:pt>
                <c:pt idx="62">
                  <c:v>1022</c:v>
                </c:pt>
                <c:pt idx="63">
                  <c:v>1067</c:v>
                </c:pt>
                <c:pt idx="64">
                  <c:v>1100</c:v>
                </c:pt>
                <c:pt idx="65">
                  <c:v>1138</c:v>
                </c:pt>
                <c:pt idx="66">
                  <c:v>1157</c:v>
                </c:pt>
                <c:pt idx="67">
                  <c:v>1177</c:v>
                </c:pt>
                <c:pt idx="68">
                  <c:v>1216</c:v>
                </c:pt>
                <c:pt idx="69">
                  <c:v>1264</c:v>
                </c:pt>
                <c:pt idx="70">
                  <c:v>1300</c:v>
                </c:pt>
                <c:pt idx="71">
                  <c:v>1338</c:v>
                </c:pt>
                <c:pt idx="72">
                  <c:v>1369</c:v>
                </c:pt>
                <c:pt idx="73">
                  <c:v>1387</c:v>
                </c:pt>
                <c:pt idx="74">
                  <c:v>1404</c:v>
                </c:pt>
                <c:pt idx="75">
                  <c:v>1461</c:v>
                </c:pt>
                <c:pt idx="76">
                  <c:v>1507</c:v>
                </c:pt>
                <c:pt idx="77">
                  <c:v>1541</c:v>
                </c:pt>
                <c:pt idx="78">
                  <c:v>1572</c:v>
                </c:pt>
                <c:pt idx="79">
                  <c:v>1606</c:v>
                </c:pt>
                <c:pt idx="80">
                  <c:v>1626</c:v>
                </c:pt>
                <c:pt idx="81">
                  <c:v>1640</c:v>
                </c:pt>
                <c:pt idx="82">
                  <c:v>1674</c:v>
                </c:pt>
                <c:pt idx="83">
                  <c:v>1730</c:v>
                </c:pt>
                <c:pt idx="84">
                  <c:v>1760</c:v>
                </c:pt>
                <c:pt idx="85">
                  <c:v>1784</c:v>
                </c:pt>
                <c:pt idx="86">
                  <c:v>1803</c:v>
                </c:pt>
                <c:pt idx="87">
                  <c:v>1815</c:v>
                </c:pt>
                <c:pt idx="88">
                  <c:v>1833</c:v>
                </c:pt>
                <c:pt idx="89">
                  <c:v>1854</c:v>
                </c:pt>
                <c:pt idx="90">
                  <c:v>1869</c:v>
                </c:pt>
                <c:pt idx="91">
                  <c:v>1885</c:v>
                </c:pt>
                <c:pt idx="92">
                  <c:v>1912</c:v>
                </c:pt>
                <c:pt idx="93">
                  <c:v>19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99.70596703097203</c:v>
                </c:pt>
                <c:pt idx="32">
                  <c:v>612.87146939636386</c:v>
                </c:pt>
                <c:pt idx="33">
                  <c:v>625.51152852762755</c:v>
                </c:pt>
                <c:pt idx="34">
                  <c:v>637.6412157849087</c:v>
                </c:pt>
                <c:pt idx="35">
                  <c:v>649.27560224624006</c:v>
                </c:pt>
                <c:pt idx="36">
                  <c:v>660.44229475349039</c:v>
                </c:pt>
                <c:pt idx="37">
                  <c:v>671.15523001450163</c:v>
                </c:pt>
                <c:pt idx="38">
                  <c:v>681.42828735621504</c:v>
                </c:pt>
                <c:pt idx="39">
                  <c:v>691.27525602286596</c:v>
                </c:pt>
                <c:pt idx="40">
                  <c:v>700.70980589145802</c:v>
                </c:pt>
                <c:pt idx="41">
                  <c:v>709.84920976460398</c:v>
                </c:pt>
                <c:pt idx="42">
                  <c:v>718.78086856787672</c:v>
                </c:pt>
                <c:pt idx="43">
                  <c:v>727.55828345808231</c:v>
                </c:pt>
                <c:pt idx="44">
                  <c:v>736.21576601846505</c:v>
                </c:pt>
                <c:pt idx="45">
                  <c:v>744.77707695872925</c:v>
                </c:pt>
                <c:pt idx="46">
                  <c:v>753.26031992844287</c:v>
                </c:pt>
                <c:pt idx="47">
                  <c:v>761.68006174541688</c:v>
                </c:pt>
                <c:pt idx="48">
                  <c:v>770.04807805317307</c:v>
                </c:pt>
                <c:pt idx="49">
                  <c:v>778.37347853943811</c:v>
                </c:pt>
                <c:pt idx="50">
                  <c:v>786.66191667969042</c:v>
                </c:pt>
                <c:pt idx="51">
                  <c:v>794.91694736520799</c:v>
                </c:pt>
                <c:pt idx="52">
                  <c:v>803.14039656922535</c:v>
                </c:pt>
                <c:pt idx="53">
                  <c:v>811.33258702721878</c:v>
                </c:pt>
                <c:pt idx="54">
                  <c:v>819.49290931575433</c:v>
                </c:pt>
                <c:pt idx="55">
                  <c:v>827.62001402105534</c:v>
                </c:pt>
                <c:pt idx="56">
                  <c:v>835.71197361990278</c:v>
                </c:pt>
                <c:pt idx="57">
                  <c:v>843.76670414155694</c:v>
                </c:pt>
                <c:pt idx="58">
                  <c:v>851.78158097831533</c:v>
                </c:pt>
                <c:pt idx="59">
                  <c:v>859.75375062506896</c:v>
                </c:pt>
                <c:pt idx="60">
                  <c:v>867.68021210411848</c:v>
                </c:pt>
                <c:pt idx="61">
                  <c:v>875.55793303127223</c:v>
                </c:pt>
                <c:pt idx="62">
                  <c:v>883.38391475018022</c:v>
                </c:pt>
                <c:pt idx="63">
                  <c:v>891.15522263196885</c:v>
                </c:pt>
                <c:pt idx="64">
                  <c:v>898.86904672196056</c:v>
                </c:pt>
                <c:pt idx="65">
                  <c:v>906.52257121186187</c:v>
                </c:pt>
                <c:pt idx="66">
                  <c:v>914.11302503803381</c:v>
                </c:pt>
                <c:pt idx="67">
                  <c:v>921.6378544424598</c:v>
                </c:pt>
                <c:pt idx="68">
                  <c:v>929.09459534529924</c:v>
                </c:pt>
                <c:pt idx="69">
                  <c:v>936.48079010585946</c:v>
                </c:pt>
                <c:pt idx="70">
                  <c:v>943.79444684998282</c:v>
                </c:pt>
                <c:pt idx="71">
                  <c:v>951.03391882311587</c:v>
                </c:pt>
                <c:pt idx="72">
                  <c:v>958.1977003584617</c:v>
                </c:pt>
                <c:pt idx="73">
                  <c:v>965.28443045723566</c:v>
                </c:pt>
                <c:pt idx="74">
                  <c:v>972.29289341737433</c:v>
                </c:pt>
                <c:pt idx="75">
                  <c:v>979.22201797478976</c:v>
                </c:pt>
                <c:pt idx="76">
                  <c:v>986.0708745297278</c:v>
                </c:pt>
                <c:pt idx="77">
                  <c:v>992.83866895929646</c:v>
                </c:pt>
                <c:pt idx="78">
                  <c:v>999.52473357798613</c:v>
                </c:pt>
                <c:pt idx="79">
                  <c:v>1006.1285134547479</c:v>
                </c:pt>
                <c:pt idx="80">
                  <c:v>1012.6495562406765</c:v>
                </c:pt>
                <c:pt idx="81">
                  <c:v>1019.0875028645592</c:v>
                </c:pt>
                <c:pt idx="82">
                  <c:v>1025.4420789051071</c:v>
                </c:pt>
                <c:pt idx="83">
                  <c:v>1031.713087622883</c:v>
                </c:pt>
                <c:pt idx="84">
                  <c:v>1037.9004035172766</c:v>
                </c:pt>
                <c:pt idx="85">
                  <c:v>1044.0039667855601</c:v>
                </c:pt>
                <c:pt idx="86">
                  <c:v>1050.0237792154683</c:v>
                </c:pt>
                <c:pt idx="87">
                  <c:v>1055.9598990301822</c:v>
                </c:pt>
                <c:pt idx="88">
                  <c:v>1061.8124369608622</c:v>
                </c:pt>
                <c:pt idx="89">
                  <c:v>1067.5815527359334</c:v>
                </c:pt>
                <c:pt idx="90">
                  <c:v>1073.2674520955959</c:v>
                </c:pt>
                <c:pt idx="91">
                  <c:v>1078.8703841007862</c:v>
                </c:pt>
                <c:pt idx="92">
                  <c:v>1084.3906387131844</c:v>
                </c:pt>
                <c:pt idx="93">
                  <c:v>1089.82854484402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99.70596703097203</c:v>
                </c:pt>
                <c:pt idx="32">
                  <c:v>612.87146939636386</c:v>
                </c:pt>
                <c:pt idx="33">
                  <c:v>625.51152852762755</c:v>
                </c:pt>
                <c:pt idx="34">
                  <c:v>637.81811347246435</c:v>
                </c:pt>
                <c:pt idx="35">
                  <c:v>650.14501960598545</c:v>
                </c:pt>
                <c:pt idx="36">
                  <c:v>662.61471920081931</c:v>
                </c:pt>
                <c:pt idx="37">
                  <c:v>675.28138067927273</c:v>
                </c:pt>
                <c:pt idx="38">
                  <c:v>688.1862328263386</c:v>
                </c:pt>
                <c:pt idx="39">
                  <c:v>701.36463178574138</c:v>
                </c:pt>
                <c:pt idx="40">
                  <c:v>714.8486078589375</c:v>
                </c:pt>
                <c:pt idx="41">
                  <c:v>728.66749151778606</c:v>
                </c:pt>
                <c:pt idx="42">
                  <c:v>742.84767683128507</c:v>
                </c:pt>
                <c:pt idx="43">
                  <c:v>757.41096814605976</c:v>
                </c:pt>
                <c:pt idx="44">
                  <c:v>772.37652027649358</c:v>
                </c:pt>
                <c:pt idx="45">
                  <c:v>787.76109549584567</c:v>
                </c:pt>
                <c:pt idx="46">
                  <c:v>803.57912397505481</c:v>
                </c:pt>
                <c:pt idx="47">
                  <c:v>819.84339417948866</c:v>
                </c:pt>
                <c:pt idx="48">
                  <c:v>836.56512832816111</c:v>
                </c:pt>
                <c:pt idx="49">
                  <c:v>853.75400578943243</c:v>
                </c:pt>
                <c:pt idx="50">
                  <c:v>871.41867000008313</c:v>
                </c:pt>
                <c:pt idx="51">
                  <c:v>889.56589204877525</c:v>
                </c:pt>
                <c:pt idx="52">
                  <c:v>908.2009209527522</c:v>
                </c:pt>
                <c:pt idx="53">
                  <c:v>927.3274477081244</c:v>
                </c:pt>
                <c:pt idx="54">
                  <c:v>946.94764082596123</c:v>
                </c:pt>
                <c:pt idx="55">
                  <c:v>967.06211413491098</c:v>
                </c:pt>
                <c:pt idx="56">
                  <c:v>987.66984176945812</c:v>
                </c:pt>
                <c:pt idx="57">
                  <c:v>1008.7681296530205</c:v>
                </c:pt>
                <c:pt idx="58">
                  <c:v>1030.3523019642862</c:v>
                </c:pt>
                <c:pt idx="59">
                  <c:v>1052.4156953551469</c:v>
                </c:pt>
                <c:pt idx="60">
                  <c:v>1074.9498680610304</c:v>
                </c:pt>
                <c:pt idx="61">
                  <c:v>1097.9443247645613</c:v>
                </c:pt>
                <c:pt idx="62">
                  <c:v>1121.3863295639662</c:v>
                </c:pt>
                <c:pt idx="63">
                  <c:v>1145.2611557152632</c:v>
                </c:pt>
                <c:pt idx="64">
                  <c:v>1169.5519904525015</c:v>
                </c:pt>
                <c:pt idx="65">
                  <c:v>1194.2397685849271</c:v>
                </c:pt>
                <c:pt idx="66">
                  <c:v>1219.3032957151802</c:v>
                </c:pt>
                <c:pt idx="67">
                  <c:v>1244.7193458203049</c:v>
                </c:pt>
                <c:pt idx="68">
                  <c:v>1270.4627597964161</c:v>
                </c:pt>
                <c:pt idx="69">
                  <c:v>1296.5065563357623</c:v>
                </c:pt>
                <c:pt idx="70">
                  <c:v>1322.8230703080822</c:v>
                </c:pt>
                <c:pt idx="71">
                  <c:v>1349.3838587757075</c:v>
                </c:pt>
                <c:pt idx="72">
                  <c:v>1376.1595915727403</c:v>
                </c:pt>
                <c:pt idx="73">
                  <c:v>1403.12008480959</c:v>
                </c:pt>
                <c:pt idx="74">
                  <c:v>1430.2344120717428</c:v>
                </c:pt>
                <c:pt idx="75">
                  <c:v>1457.4710559826106</c:v>
                </c:pt>
                <c:pt idx="76">
                  <c:v>1484.7980764755009</c:v>
                </c:pt>
                <c:pt idx="77">
                  <c:v>1512.1832814093943</c:v>
                </c:pt>
                <c:pt idx="78">
                  <c:v>1539.5943944447617</c:v>
                </c:pt>
                <c:pt idx="79">
                  <c:v>1566.9992102511881</c:v>
                </c:pt>
                <c:pt idx="80">
                  <c:v>1594.3657591374156</c:v>
                </c:pt>
                <c:pt idx="81">
                  <c:v>1621.6624702154541</c:v>
                </c:pt>
                <c:pt idx="82">
                  <c:v>1648.8583304441975</c:v>
                </c:pt>
                <c:pt idx="83">
                  <c:v>1675.9230412147667</c:v>
                </c:pt>
                <c:pt idx="84">
                  <c:v>1702.8271672665444</c:v>
                </c:pt>
                <c:pt idx="85">
                  <c:v>1729.5422771681283</c:v>
                </c:pt>
                <c:pt idx="86">
                  <c:v>1756.0410762321117</c:v>
                </c:pt>
                <c:pt idx="87">
                  <c:v>1782.2975227364204</c:v>
                </c:pt>
                <c:pt idx="88">
                  <c:v>1808.2869337221205</c:v>
                </c:pt>
                <c:pt idx="89">
                  <c:v>1833.9860772111072</c:v>
                </c:pt>
                <c:pt idx="90">
                  <c:v>1859.3732507644536</c:v>
                </c:pt>
                <c:pt idx="91">
                  <c:v>1884.4283455362004</c:v>
                </c:pt>
                <c:pt idx="92">
                  <c:v>1909.1328956567363</c:v>
                </c:pt>
                <c:pt idx="93">
                  <c:v>1933.47011367556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99.70596703097203</c:v>
                </c:pt>
                <c:pt idx="32">
                  <c:v>612.87146939636386</c:v>
                </c:pt>
                <c:pt idx="33">
                  <c:v>625.51152852762755</c:v>
                </c:pt>
                <c:pt idx="34">
                  <c:v>637.99501116002</c:v>
                </c:pt>
                <c:pt idx="35">
                  <c:v>650.58859654259038</c:v>
                </c:pt>
                <c:pt idx="36">
                  <c:v>663.46776884778501</c:v>
                </c:pt>
                <c:pt idx="37">
                  <c:v>676.740864920224</c:v>
                </c:pt>
                <c:pt idx="38">
                  <c:v>690.49034232988254</c:v>
                </c:pt>
                <c:pt idx="39">
                  <c:v>704.78691336421741</c:v>
                </c:pt>
                <c:pt idx="40">
                  <c:v>719.69463862613907</c:v>
                </c:pt>
                <c:pt idx="41">
                  <c:v>735.27217905936573</c:v>
                </c:pt>
                <c:pt idx="42">
                  <c:v>751.57232280189305</c:v>
                </c:pt>
                <c:pt idx="43">
                  <c:v>768.63867854697185</c:v>
                </c:pt>
                <c:pt idx="44">
                  <c:v>786.50955592337016</c:v>
                </c:pt>
                <c:pt idx="45">
                  <c:v>805.21847947760511</c:v>
                </c:pt>
                <c:pt idx="46">
                  <c:v>824.79430955155033</c:v>
                </c:pt>
                <c:pt idx="47">
                  <c:v>845.26262307594743</c:v>
                </c:pt>
                <c:pt idx="48">
                  <c:v>866.64586448882164</c:v>
                </c:pt>
                <c:pt idx="49">
                  <c:v>888.96339252689631</c:v>
                </c:pt>
                <c:pt idx="50">
                  <c:v>912.23249406372713</c:v>
                </c:pt>
                <c:pt idx="51">
                  <c:v>936.46671127663956</c:v>
                </c:pt>
                <c:pt idx="52">
                  <c:v>961.67654220012173</c:v>
                </c:pt>
                <c:pt idx="53">
                  <c:v>987.86936882639679</c:v>
                </c:pt>
                <c:pt idx="54">
                  <c:v>1015.0495281775986</c:v>
                </c:pt>
                <c:pt idx="55">
                  <c:v>1043.2182479110288</c:v>
                </c:pt>
                <c:pt idx="56">
                  <c:v>1072.3734762956526</c:v>
                </c:pt>
                <c:pt idx="57">
                  <c:v>1102.5098251783056</c:v>
                </c:pt>
                <c:pt idx="58">
                  <c:v>1133.6179429163678</c:v>
                </c:pt>
                <c:pt idx="59">
                  <c:v>1165.6845028136186</c:v>
                </c:pt>
                <c:pt idx="60">
                  <c:v>1198.6926213409151</c:v>
                </c:pt>
                <c:pt idx="61">
                  <c:v>1232.6213078635064</c:v>
                </c:pt>
                <c:pt idx="62">
                  <c:v>1267.4450905778458</c:v>
                </c:pt>
                <c:pt idx="63">
                  <c:v>1303.1345159959681</c:v>
                </c:pt>
                <c:pt idx="64">
                  <c:v>1339.6559585859757</c:v>
                </c:pt>
                <c:pt idx="65">
                  <c:v>1376.971287966355</c:v>
                </c:pt>
                <c:pt idx="66">
                  <c:v>1415.0381153423918</c:v>
                </c:pt>
                <c:pt idx="67">
                  <c:v>1453.8099886681705</c:v>
                </c:pt>
                <c:pt idx="68">
                  <c:v>1493.2365897359211</c:v>
                </c:pt>
                <c:pt idx="69">
                  <c:v>1533.2639559301442</c:v>
                </c:pt>
                <c:pt idx="70">
                  <c:v>1573.8367569903132</c:v>
                </c:pt>
                <c:pt idx="71">
                  <c:v>1614.8981070410921</c:v>
                </c:pt>
                <c:pt idx="72">
                  <c:v>1656.3893457506872</c:v>
                </c:pt>
                <c:pt idx="73">
                  <c:v>1698.2501053399149</c:v>
                </c:pt>
                <c:pt idx="74">
                  <c:v>1740.4185329797497</c:v>
                </c:pt>
                <c:pt idx="75">
                  <c:v>1782.8315939170159</c:v>
                </c:pt>
                <c:pt idx="76">
                  <c:v>1825.4254080183259</c:v>
                </c:pt>
                <c:pt idx="77">
                  <c:v>1868.1355910016434</c:v>
                </c:pt>
                <c:pt idx="78">
                  <c:v>1910.8975901879078</c:v>
                </c:pt>
                <c:pt idx="79">
                  <c:v>1953.6469949162886</c:v>
                </c:pt>
                <c:pt idx="80">
                  <c:v>1996.3198658042731</c:v>
                </c:pt>
                <c:pt idx="81">
                  <c:v>2038.8530610758796</c:v>
                </c:pt>
                <c:pt idx="82">
                  <c:v>2081.1845546488958</c:v>
                </c:pt>
                <c:pt idx="83">
                  <c:v>2123.2537493055638</c:v>
                </c:pt>
                <c:pt idx="84">
                  <c:v>2165.0017745246514</c:v>
                </c:pt>
                <c:pt idx="85">
                  <c:v>2206.3717674433465</c:v>
                </c:pt>
                <c:pt idx="86">
                  <c:v>2247.3091386868455</c:v>
                </c:pt>
                <c:pt idx="87">
                  <c:v>2287.7618048109912</c:v>
                </c:pt>
                <c:pt idx="88">
                  <c:v>2327.6803998979194</c:v>
                </c:pt>
                <c:pt idx="89">
                  <c:v>2367.0184599914223</c:v>
                </c:pt>
                <c:pt idx="90">
                  <c:v>2405.7325802136447</c:v>
                </c:pt>
                <c:pt idx="91">
                  <c:v>2443.7825428726678</c:v>
                </c:pt>
                <c:pt idx="92">
                  <c:v>2481.1314162292688</c:v>
                </c:pt>
                <c:pt idx="93">
                  <c:v>2517.74562538244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8</c:v>
                </c:pt>
                <c:pt idx="1">
                  <c:v>18</c:v>
                </c:pt>
                <c:pt idx="2">
                  <c:v>32</c:v>
                </c:pt>
                <c:pt idx="3">
                  <c:v>40</c:v>
                </c:pt>
                <c:pt idx="4">
                  <c:v>47</c:v>
                </c:pt>
                <c:pt idx="5">
                  <c:v>62</c:v>
                </c:pt>
                <c:pt idx="6">
                  <c:v>66</c:v>
                </c:pt>
                <c:pt idx="7">
                  <c:v>72</c:v>
                </c:pt>
                <c:pt idx="8">
                  <c:v>78</c:v>
                </c:pt>
                <c:pt idx="9">
                  <c:v>85</c:v>
                </c:pt>
                <c:pt idx="10">
                  <c:v>87</c:v>
                </c:pt>
                <c:pt idx="11">
                  <c:v>93</c:v>
                </c:pt>
                <c:pt idx="12">
                  <c:v>105</c:v>
                </c:pt>
                <c:pt idx="13">
                  <c:v>111</c:v>
                </c:pt>
                <c:pt idx="14">
                  <c:v>115</c:v>
                </c:pt>
                <c:pt idx="15">
                  <c:v>116</c:v>
                </c:pt>
                <c:pt idx="16">
                  <c:v>122</c:v>
                </c:pt>
                <c:pt idx="17">
                  <c:v>126</c:v>
                </c:pt>
                <c:pt idx="18">
                  <c:v>128</c:v>
                </c:pt>
                <c:pt idx="19">
                  <c:v>129</c:v>
                </c:pt>
                <c:pt idx="20">
                  <c:v>134</c:v>
                </c:pt>
                <c:pt idx="21">
                  <c:v>140</c:v>
                </c:pt>
                <c:pt idx="22">
                  <c:v>143</c:v>
                </c:pt>
                <c:pt idx="23">
                  <c:v>149</c:v>
                </c:pt>
                <c:pt idx="24">
                  <c:v>152</c:v>
                </c:pt>
                <c:pt idx="25">
                  <c:v>153</c:v>
                </c:pt>
                <c:pt idx="26">
                  <c:v>157</c:v>
                </c:pt>
                <c:pt idx="27">
                  <c:v>163</c:v>
                </c:pt>
                <c:pt idx="28">
                  <c:v>166</c:v>
                </c:pt>
                <c:pt idx="29">
                  <c:v>169</c:v>
                </c:pt>
                <c:pt idx="30">
                  <c:v>172</c:v>
                </c:pt>
                <c:pt idx="31">
                  <c:v>176</c:v>
                </c:pt>
                <c:pt idx="32">
                  <c:v>178</c:v>
                </c:pt>
                <c:pt idx="33">
                  <c:v>180</c:v>
                </c:pt>
                <c:pt idx="34">
                  <c:v>186</c:v>
                </c:pt>
                <c:pt idx="35">
                  <c:v>189</c:v>
                </c:pt>
                <c:pt idx="36">
                  <c:v>189</c:v>
                </c:pt>
                <c:pt idx="37">
                  <c:v>195</c:v>
                </c:pt>
                <c:pt idx="38">
                  <c:v>198</c:v>
                </c:pt>
                <c:pt idx="39">
                  <c:v>199</c:v>
                </c:pt>
                <c:pt idx="40">
                  <c:v>204</c:v>
                </c:pt>
                <c:pt idx="41">
                  <c:v>206</c:v>
                </c:pt>
                <c:pt idx="42">
                  <c:v>209</c:v>
                </c:pt>
                <c:pt idx="43">
                  <c:v>221</c:v>
                </c:pt>
                <c:pt idx="44">
                  <c:v>224</c:v>
                </c:pt>
                <c:pt idx="45">
                  <c:v>228</c:v>
                </c:pt>
                <c:pt idx="46">
                  <c:v>231</c:v>
                </c:pt>
                <c:pt idx="47">
                  <c:v>244</c:v>
                </c:pt>
                <c:pt idx="48">
                  <c:v>253</c:v>
                </c:pt>
                <c:pt idx="49">
                  <c:v>256</c:v>
                </c:pt>
                <c:pt idx="50">
                  <c:v>276</c:v>
                </c:pt>
                <c:pt idx="51">
                  <c:v>290</c:v>
                </c:pt>
                <c:pt idx="52">
                  <c:v>292</c:v>
                </c:pt>
                <c:pt idx="53">
                  <c:v>294</c:v>
                </c:pt>
                <c:pt idx="54">
                  <c:v>306</c:v>
                </c:pt>
                <c:pt idx="55">
                  <c:v>311</c:v>
                </c:pt>
                <c:pt idx="56">
                  <c:v>325</c:v>
                </c:pt>
                <c:pt idx="57">
                  <c:v>338</c:v>
                </c:pt>
                <c:pt idx="58">
                  <c:v>354</c:v>
                </c:pt>
                <c:pt idx="59">
                  <c:v>360</c:v>
                </c:pt>
                <c:pt idx="60">
                  <c:v>363</c:v>
                </c:pt>
                <c:pt idx="61">
                  <c:v>374</c:v>
                </c:pt>
                <c:pt idx="62">
                  <c:v>386</c:v>
                </c:pt>
                <c:pt idx="63">
                  <c:v>401</c:v>
                </c:pt>
                <c:pt idx="64">
                  <c:v>414</c:v>
                </c:pt>
                <c:pt idx="65">
                  <c:v>424</c:v>
                </c:pt>
                <c:pt idx="66">
                  <c:v>428</c:v>
                </c:pt>
                <c:pt idx="67">
                  <c:v>434</c:v>
                </c:pt>
                <c:pt idx="68">
                  <c:v>457</c:v>
                </c:pt>
                <c:pt idx="69">
                  <c:v>482</c:v>
                </c:pt>
                <c:pt idx="70">
                  <c:v>503</c:v>
                </c:pt>
                <c:pt idx="71">
                  <c:v>529</c:v>
                </c:pt>
                <c:pt idx="72">
                  <c:v>532</c:v>
                </c:pt>
                <c:pt idx="73">
                  <c:v>543</c:v>
                </c:pt>
                <c:pt idx="74">
                  <c:v>546</c:v>
                </c:pt>
                <c:pt idx="75">
                  <c:v>562</c:v>
                </c:pt>
                <c:pt idx="76">
                  <c:v>581</c:v>
                </c:pt>
                <c:pt idx="77">
                  <c:v>595</c:v>
                </c:pt>
                <c:pt idx="78">
                  <c:v>608</c:v>
                </c:pt>
                <c:pt idx="79">
                  <c:v>621</c:v>
                </c:pt>
                <c:pt idx="80">
                  <c:v>632</c:v>
                </c:pt>
                <c:pt idx="81">
                  <c:v>639</c:v>
                </c:pt>
                <c:pt idx="82">
                  <c:v>647</c:v>
                </c:pt>
                <c:pt idx="83">
                  <c:v>658</c:v>
                </c:pt>
                <c:pt idx="84">
                  <c:v>665</c:v>
                </c:pt>
                <c:pt idx="85">
                  <c:v>678</c:v>
                </c:pt>
                <c:pt idx="86">
                  <c:v>681</c:v>
                </c:pt>
                <c:pt idx="87">
                  <c:v>683</c:v>
                </c:pt>
                <c:pt idx="88">
                  <c:v>685</c:v>
                </c:pt>
                <c:pt idx="89">
                  <c:v>694</c:v>
                </c:pt>
                <c:pt idx="90">
                  <c:v>699</c:v>
                </c:pt>
                <c:pt idx="91">
                  <c:v>706</c:v>
                </c:pt>
                <c:pt idx="92">
                  <c:v>711</c:v>
                </c:pt>
                <c:pt idx="93">
                  <c:v>7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3.26895551118378</c:v>
                </c:pt>
                <c:pt idx="32">
                  <c:v>175.44843975202252</c:v>
                </c:pt>
                <c:pt idx="33">
                  <c:v>177.54093944670009</c:v>
                </c:pt>
                <c:pt idx="34">
                  <c:v>179.54894958485028</c:v>
                </c:pt>
                <c:pt idx="35">
                  <c:v>181.47496510940445</c:v>
                </c:pt>
                <c:pt idx="36">
                  <c:v>183.32355619741494</c:v>
                </c:pt>
                <c:pt idx="37">
                  <c:v>185.09703000240066</c:v>
                </c:pt>
                <c:pt idx="38">
                  <c:v>186.79768417875428</c:v>
                </c:pt>
                <c:pt idx="39">
                  <c:v>188.4278014681191</c:v>
                </c:pt>
                <c:pt idx="40">
                  <c:v>189.98964485147957</c:v>
                </c:pt>
                <c:pt idx="41">
                  <c:v>191.50262826520358</c:v>
                </c:pt>
                <c:pt idx="42">
                  <c:v>192.98122050316127</c:v>
                </c:pt>
                <c:pt idx="43">
                  <c:v>194.43427841903647</c:v>
                </c:pt>
                <c:pt idx="44">
                  <c:v>195.86748212687911</c:v>
                </c:pt>
                <c:pt idx="45">
                  <c:v>197.28476509545581</c:v>
                </c:pt>
                <c:pt idx="46">
                  <c:v>198.6891242950181</c:v>
                </c:pt>
                <c:pt idx="47">
                  <c:v>200.08297119069482</c:v>
                </c:pt>
                <c:pt idx="48">
                  <c:v>201.46825518242298</c:v>
                </c:pt>
                <c:pt idx="49">
                  <c:v>202.8464843342542</c:v>
                </c:pt>
                <c:pt idx="50">
                  <c:v>204.21859455128117</c:v>
                </c:pt>
                <c:pt idx="51">
                  <c:v>205.58517432829149</c:v>
                </c:pt>
                <c:pt idx="52">
                  <c:v>206.94652594618401</c:v>
                </c:pt>
                <c:pt idx="53">
                  <c:v>208.30270283223138</c:v>
                </c:pt>
                <c:pt idx="54">
                  <c:v>209.6536040993779</c:v>
                </c:pt>
                <c:pt idx="55">
                  <c:v>210.99900635880189</c:v>
                </c:pt>
                <c:pt idx="56">
                  <c:v>212.33859051850342</c:v>
                </c:pt>
                <c:pt idx="57">
                  <c:v>213.67201158736407</c:v>
                </c:pt>
                <c:pt idx="58">
                  <c:v>214.99883507447211</c:v>
                </c:pt>
                <c:pt idx="59">
                  <c:v>216.31858859607468</c:v>
                </c:pt>
                <c:pt idx="60">
                  <c:v>217.63077535505596</c:v>
                </c:pt>
                <c:pt idx="61">
                  <c:v>218.93489335510969</c:v>
                </c:pt>
                <c:pt idx="62">
                  <c:v>220.23044618340805</c:v>
                </c:pt>
                <c:pt idx="63">
                  <c:v>221.51694802655743</c:v>
                </c:pt>
                <c:pt idx="64">
                  <c:v>222.79393371036494</c:v>
                </c:pt>
                <c:pt idx="65">
                  <c:v>224.06093709160027</c:v>
                </c:pt>
                <c:pt idx="66">
                  <c:v>225.31749943429091</c:v>
                </c:pt>
                <c:pt idx="67">
                  <c:v>226.56319797634259</c:v>
                </c:pt>
                <c:pt idx="68">
                  <c:v>227.79762480144254</c:v>
                </c:pt>
                <c:pt idx="69">
                  <c:v>229.02037305924728</c:v>
                </c:pt>
                <c:pt idx="70">
                  <c:v>230.2311130047751</c:v>
                </c:pt>
                <c:pt idx="71">
                  <c:v>231.4295720258994</c:v>
                </c:pt>
                <c:pt idx="72">
                  <c:v>232.61550086687859</c:v>
                </c:pt>
                <c:pt idx="73">
                  <c:v>233.78867422104977</c:v>
                </c:pt>
                <c:pt idx="74">
                  <c:v>234.94889083490852</c:v>
                </c:pt>
                <c:pt idx="75">
                  <c:v>236.09597336594769</c:v>
                </c:pt>
                <c:pt idx="76">
                  <c:v>237.22976792349462</c:v>
                </c:pt>
                <c:pt idx="77">
                  <c:v>238.35014304440571</c:v>
                </c:pt>
                <c:pt idx="78">
                  <c:v>239.45698819662485</c:v>
                </c:pt>
                <c:pt idx="79">
                  <c:v>240.55021151404301</c:v>
                </c:pt>
                <c:pt idx="80">
                  <c:v>241.6297381125211</c:v>
                </c:pt>
                <c:pt idx="81">
                  <c:v>242.69550854958376</c:v>
                </c:pt>
                <c:pt idx="82">
                  <c:v>243.74747739613474</c:v>
                </c:pt>
                <c:pt idx="83">
                  <c:v>244.78561208292672</c:v>
                </c:pt>
                <c:pt idx="84">
                  <c:v>245.80989183395016</c:v>
                </c:pt>
                <c:pt idx="85">
                  <c:v>246.82030674915725</c:v>
                </c:pt>
                <c:pt idx="86">
                  <c:v>247.81685712449871</c:v>
                </c:pt>
                <c:pt idx="87">
                  <c:v>248.79955259853617</c:v>
                </c:pt>
                <c:pt idx="88">
                  <c:v>249.7684115022692</c:v>
                </c:pt>
                <c:pt idx="89">
                  <c:v>250.72346027795396</c:v>
                </c:pt>
                <c:pt idx="90">
                  <c:v>251.66473298486983</c:v>
                </c:pt>
                <c:pt idx="91">
                  <c:v>252.59227085383137</c:v>
                </c:pt>
                <c:pt idx="92">
                  <c:v>253.50612188657024</c:v>
                </c:pt>
                <c:pt idx="93">
                  <c:v>254.406340532725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3.26895551118378</c:v>
                </c:pt>
                <c:pt idx="32">
                  <c:v>175.44843975202252</c:v>
                </c:pt>
                <c:pt idx="33">
                  <c:v>177.54093944670009</c:v>
                </c:pt>
                <c:pt idx="34">
                  <c:v>179.57823412801224</c:v>
                </c:pt>
                <c:pt idx="35">
                  <c:v>181.61889288228289</c:v>
                </c:pt>
                <c:pt idx="36">
                  <c:v>183.68319039259859</c:v>
                </c:pt>
                <c:pt idx="37">
                  <c:v>185.78009397516894</c:v>
                </c:pt>
                <c:pt idx="38">
                  <c:v>187.9164288528124</c:v>
                </c:pt>
                <c:pt idx="39">
                  <c:v>190.09804806143492</c:v>
                </c:pt>
                <c:pt idx="40">
                  <c:v>192.33025406009324</c:v>
                </c:pt>
                <c:pt idx="41">
                  <c:v>194.61790236431716</c:v>
                </c:pt>
                <c:pt idx="42">
                  <c:v>196.965362382568</c:v>
                </c:pt>
                <c:pt idx="43">
                  <c:v>199.37624371731536</c:v>
                </c:pt>
                <c:pt idx="44">
                  <c:v>201.85371735398206</c:v>
                </c:pt>
                <c:pt idx="45">
                  <c:v>204.40055820456121</c:v>
                </c:pt>
                <c:pt idx="46">
                  <c:v>207.01915511296326</c:v>
                </c:pt>
                <c:pt idx="47">
                  <c:v>209.71162514680628</c:v>
                </c:pt>
                <c:pt idx="48">
                  <c:v>212.47982608931866</c:v>
                </c:pt>
                <c:pt idx="49">
                  <c:v>215.32536031238243</c:v>
                </c:pt>
                <c:pt idx="50">
                  <c:v>218.24965869449554</c:v>
                </c:pt>
                <c:pt idx="51">
                  <c:v>221.25384215612291</c:v>
                </c:pt>
                <c:pt idx="52">
                  <c:v>224.33877964628331</c:v>
                </c:pt>
                <c:pt idx="53">
                  <c:v>227.50508219125072</c:v>
                </c:pt>
                <c:pt idx="54">
                  <c:v>230.75310877737982</c:v>
                </c:pt>
                <c:pt idx="55">
                  <c:v>234.08296102098794</c:v>
                </c:pt>
                <c:pt idx="56">
                  <c:v>237.49446909507853</c:v>
                </c:pt>
                <c:pt idx="57">
                  <c:v>240.9871870085081</c:v>
                </c:pt>
                <c:pt idx="58">
                  <c:v>244.56034070202853</c:v>
                </c:pt>
                <c:pt idx="59">
                  <c:v>248.21282709109428</c:v>
                </c:pt>
                <c:pt idx="60">
                  <c:v>251.94324868305077</c:v>
                </c:pt>
                <c:pt idx="61">
                  <c:v>255.7498680296649</c:v>
                </c:pt>
                <c:pt idx="62">
                  <c:v>259.63057676496345</c:v>
                </c:pt>
                <c:pt idx="63">
                  <c:v>263.58293694882553</c:v>
                </c:pt>
                <c:pt idx="64">
                  <c:v>267.60416531044103</c:v>
                </c:pt>
                <c:pt idx="65">
                  <c:v>271.69110570113867</c:v>
                </c:pt>
                <c:pt idx="66">
                  <c:v>275.84024949255337</c:v>
                </c:pt>
                <c:pt idx="67">
                  <c:v>280.04775173068305</c:v>
                </c:pt>
                <c:pt idx="68">
                  <c:v>284.30944744947402</c:v>
                </c:pt>
                <c:pt idx="69">
                  <c:v>288.62087002597411</c:v>
                </c:pt>
                <c:pt idx="70">
                  <c:v>292.97743963377405</c:v>
                </c:pt>
                <c:pt idx="71">
                  <c:v>297.37444768426923</c:v>
                </c:pt>
                <c:pt idx="72">
                  <c:v>301.80703871258021</c:v>
                </c:pt>
                <c:pt idx="73">
                  <c:v>306.27021592406408</c:v>
                </c:pt>
                <c:pt idx="74">
                  <c:v>310.75885960272461</c:v>
                </c:pt>
                <c:pt idx="75">
                  <c:v>315.26775220169736</c:v>
                </c:pt>
                <c:pt idx="76">
                  <c:v>319.79160619984742</c:v>
                </c:pt>
                <c:pt idx="77">
                  <c:v>324.32509234637354</c:v>
                </c:pt>
                <c:pt idx="78">
                  <c:v>328.86286745182468</c:v>
                </c:pt>
                <c:pt idx="79">
                  <c:v>333.39960008195987</c:v>
                </c:pt>
                <c:pt idx="80">
                  <c:v>337.92999781144306</c:v>
                </c:pt>
                <c:pt idx="81">
                  <c:v>342.44883423485993</c:v>
                </c:pt>
                <c:pt idx="82">
                  <c:v>346.95097529560746</c:v>
                </c:pt>
                <c:pt idx="83">
                  <c:v>351.43140520782822</c:v>
                </c:pt>
                <c:pt idx="84">
                  <c:v>355.88525110872814</c:v>
                </c:pt>
                <c:pt idx="85">
                  <c:v>360.30780631450853</c:v>
                </c:pt>
                <c:pt idx="86">
                  <c:v>364.69455232375475</c:v>
                </c:pt>
                <c:pt idx="87">
                  <c:v>369.04117805730789</c:v>
                </c:pt>
                <c:pt idx="88">
                  <c:v>373.34359737257182</c:v>
                </c:pt>
                <c:pt idx="89">
                  <c:v>377.59796432969881</c:v>
                </c:pt>
                <c:pt idx="90">
                  <c:v>381.80068619653815</c:v>
                </c:pt>
                <c:pt idx="91">
                  <c:v>385.94843405242625</c:v>
                </c:pt>
                <c:pt idx="92">
                  <c:v>390.03815096336285</c:v>
                </c:pt>
                <c:pt idx="93">
                  <c:v>394.067057849386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3.26895551118378</c:v>
                </c:pt>
                <c:pt idx="32">
                  <c:v>175.44843975202252</c:v>
                </c:pt>
                <c:pt idx="33">
                  <c:v>177.54093944670009</c:v>
                </c:pt>
                <c:pt idx="34">
                  <c:v>179.6075186711742</c:v>
                </c:pt>
                <c:pt idx="35">
                  <c:v>181.69232486505868</c:v>
                </c:pt>
                <c:pt idx="36">
                  <c:v>183.82440857103302</c:v>
                </c:pt>
                <c:pt idx="37">
                  <c:v>186.02170442151754</c:v>
                </c:pt>
                <c:pt idx="38">
                  <c:v>188.29786286214741</c:v>
                </c:pt>
                <c:pt idx="39">
                  <c:v>190.66458996473582</c:v>
                </c:pt>
                <c:pt idx="40">
                  <c:v>193.1324906473958</c:v>
                </c:pt>
                <c:pt idx="41">
                  <c:v>195.71127594118701</c:v>
                </c:pt>
                <c:pt idx="42">
                  <c:v>198.40968466303204</c:v>
                </c:pt>
                <c:pt idx="43">
                  <c:v>201.23493601787013</c:v>
                </c:pt>
                <c:pt idx="44">
                  <c:v>204.1933719765471</c:v>
                </c:pt>
                <c:pt idx="45">
                  <c:v>207.29054236304898</c:v>
                </c:pt>
                <c:pt idx="46">
                  <c:v>210.53122486519604</c:v>
                </c:pt>
                <c:pt idx="47">
                  <c:v>213.91965361822542</c:v>
                </c:pt>
                <c:pt idx="48">
                  <c:v>217.45954418859358</c:v>
                </c:pt>
                <c:pt idx="49">
                  <c:v>221.15410132006488</c:v>
                </c:pt>
                <c:pt idx="50">
                  <c:v>225.00618676963447</c:v>
                </c:pt>
                <c:pt idx="51">
                  <c:v>229.01804237823234</c:v>
                </c:pt>
                <c:pt idx="52">
                  <c:v>233.19140604389628</c:v>
                </c:pt>
                <c:pt idx="53">
                  <c:v>237.52749981917466</c:v>
                </c:pt>
                <c:pt idx="54">
                  <c:v>242.02704167677604</c:v>
                </c:pt>
                <c:pt idx="55">
                  <c:v>246.69023484933584</c:v>
                </c:pt>
                <c:pt idx="56">
                  <c:v>251.51673968286036</c:v>
                </c:pt>
                <c:pt idx="57">
                  <c:v>256.50566419506265</c:v>
                </c:pt>
                <c:pt idx="58">
                  <c:v>261.6554602674471</c:v>
                </c:pt>
                <c:pt idx="59">
                  <c:v>266.96392173092198</c:v>
                </c:pt>
                <c:pt idx="60">
                  <c:v>272.42825360017832</c:v>
                </c:pt>
                <c:pt idx="61">
                  <c:v>278.04498097874995</c:v>
                </c:pt>
                <c:pt idx="62">
                  <c:v>283.80988713469037</c:v>
                </c:pt>
                <c:pt idx="63">
                  <c:v>289.71809618775774</c:v>
                </c:pt>
                <c:pt idx="64">
                  <c:v>295.76404159633233</c:v>
                </c:pt>
                <c:pt idx="65">
                  <c:v>301.9414110630708</c:v>
                </c:pt>
                <c:pt idx="66">
                  <c:v>308.2431873312438</c:v>
                </c:pt>
                <c:pt idx="67">
                  <c:v>314.66168049284647</c:v>
                </c:pt>
                <c:pt idx="68">
                  <c:v>321.18856061577156</c:v>
                </c:pt>
                <c:pt idx="69">
                  <c:v>327.81489445411535</c:v>
                </c:pt>
                <c:pt idx="70">
                  <c:v>334.53152235505854</c:v>
                </c:pt>
                <c:pt idx="71">
                  <c:v>341.32902714139203</c:v>
                </c:pt>
                <c:pt idx="72">
                  <c:v>348.19769788335731</c:v>
                </c:pt>
                <c:pt idx="73">
                  <c:v>355.12754099166818</c:v>
                </c:pt>
                <c:pt idx="74">
                  <c:v>362.10831703433263</c:v>
                </c:pt>
                <c:pt idx="75">
                  <c:v>369.12959091762167</c:v>
                </c:pt>
                <c:pt idx="76">
                  <c:v>376.18078759926522</c:v>
                </c:pt>
                <c:pt idx="77">
                  <c:v>383.25124857766099</c:v>
                </c:pt>
                <c:pt idx="78">
                  <c:v>390.33028747390665</c:v>
                </c:pt>
                <c:pt idx="79">
                  <c:v>397.40724141952018</c:v>
                </c:pt>
                <c:pt idx="80">
                  <c:v>404.47152556382986</c:v>
                </c:pt>
                <c:pt idx="81">
                  <c:v>411.51268709600697</c:v>
                </c:pt>
                <c:pt idx="82">
                  <c:v>418.52045790284541</c:v>
                </c:pt>
                <c:pt idx="83">
                  <c:v>425.48480641263029</c:v>
                </c:pt>
                <c:pt idx="84">
                  <c:v>432.39598689977396</c:v>
                </c:pt>
                <c:pt idx="85">
                  <c:v>439.2445859966777</c:v>
                </c:pt>
                <c:pt idx="86">
                  <c:v>446.02156670051397</c:v>
                </c:pt>
                <c:pt idx="87">
                  <c:v>452.71830685296339</c:v>
                </c:pt>
                <c:pt idx="88">
                  <c:v>459.3266341688344</c:v>
                </c:pt>
                <c:pt idx="89">
                  <c:v>465.83885676843181</c:v>
                </c:pt>
                <c:pt idx="90">
                  <c:v>472.2477891874538</c:v>
                </c:pt>
                <c:pt idx="91">
                  <c:v>478.54677358457337</c:v>
                </c:pt>
                <c:pt idx="92">
                  <c:v>484.72969609179</c:v>
                </c:pt>
                <c:pt idx="93">
                  <c:v>490.790998549180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40</c:v>
                </c:pt>
                <c:pt idx="1">
                  <c:v>105</c:v>
                </c:pt>
                <c:pt idx="2">
                  <c:v>150</c:v>
                </c:pt>
                <c:pt idx="3">
                  <c:v>170</c:v>
                </c:pt>
                <c:pt idx="4">
                  <c:v>213</c:v>
                </c:pt>
                <c:pt idx="5">
                  <c:v>251</c:v>
                </c:pt>
                <c:pt idx="6">
                  <c:v>301</c:v>
                </c:pt>
                <c:pt idx="7">
                  <c:v>343</c:v>
                </c:pt>
                <c:pt idx="8">
                  <c:v>384</c:v>
                </c:pt>
                <c:pt idx="9">
                  <c:v>427</c:v>
                </c:pt>
                <c:pt idx="10">
                  <c:v>445</c:v>
                </c:pt>
                <c:pt idx="11">
                  <c:v>467</c:v>
                </c:pt>
                <c:pt idx="12">
                  <c:v>534</c:v>
                </c:pt>
                <c:pt idx="13">
                  <c:v>580</c:v>
                </c:pt>
                <c:pt idx="14">
                  <c:v>616</c:v>
                </c:pt>
                <c:pt idx="15">
                  <c:v>663</c:v>
                </c:pt>
                <c:pt idx="16">
                  <c:v>692</c:v>
                </c:pt>
                <c:pt idx="17">
                  <c:v>710</c:v>
                </c:pt>
                <c:pt idx="18">
                  <c:v>731</c:v>
                </c:pt>
                <c:pt idx="19">
                  <c:v>764</c:v>
                </c:pt>
                <c:pt idx="20">
                  <c:v>799</c:v>
                </c:pt>
                <c:pt idx="21">
                  <c:v>821</c:v>
                </c:pt>
                <c:pt idx="22">
                  <c:v>839</c:v>
                </c:pt>
                <c:pt idx="23">
                  <c:v>861</c:v>
                </c:pt>
                <c:pt idx="24">
                  <c:v>880</c:v>
                </c:pt>
                <c:pt idx="25">
                  <c:v>892</c:v>
                </c:pt>
                <c:pt idx="26">
                  <c:v>940</c:v>
                </c:pt>
                <c:pt idx="27">
                  <c:v>967</c:v>
                </c:pt>
                <c:pt idx="28">
                  <c:v>987</c:v>
                </c:pt>
                <c:pt idx="29">
                  <c:v>1013</c:v>
                </c:pt>
                <c:pt idx="30">
                  <c:v>1039</c:v>
                </c:pt>
                <c:pt idx="31">
                  <c:v>1049</c:v>
                </c:pt>
                <c:pt idx="32">
                  <c:v>1061</c:v>
                </c:pt>
                <c:pt idx="33">
                  <c:v>1088</c:v>
                </c:pt>
                <c:pt idx="34">
                  <c:v>1131</c:v>
                </c:pt>
                <c:pt idx="35">
                  <c:v>1152</c:v>
                </c:pt>
                <c:pt idx="36">
                  <c:v>1169</c:v>
                </c:pt>
                <c:pt idx="37">
                  <c:v>1187</c:v>
                </c:pt>
                <c:pt idx="38">
                  <c:v>1196</c:v>
                </c:pt>
                <c:pt idx="39">
                  <c:v>1204</c:v>
                </c:pt>
                <c:pt idx="40">
                  <c:v>1215</c:v>
                </c:pt>
                <c:pt idx="41">
                  <c:v>1238</c:v>
                </c:pt>
                <c:pt idx="42">
                  <c:v>1254</c:v>
                </c:pt>
                <c:pt idx="43">
                  <c:v>1264</c:v>
                </c:pt>
                <c:pt idx="44">
                  <c:v>1276</c:v>
                </c:pt>
                <c:pt idx="45">
                  <c:v>1280</c:v>
                </c:pt>
                <c:pt idx="46">
                  <c:v>1287</c:v>
                </c:pt>
                <c:pt idx="47">
                  <c:v>1313</c:v>
                </c:pt>
                <c:pt idx="48">
                  <c:v>1334</c:v>
                </c:pt>
                <c:pt idx="49">
                  <c:v>1349</c:v>
                </c:pt>
                <c:pt idx="50">
                  <c:v>1369</c:v>
                </c:pt>
                <c:pt idx="51">
                  <c:v>1381</c:v>
                </c:pt>
                <c:pt idx="52">
                  <c:v>1390</c:v>
                </c:pt>
                <c:pt idx="53">
                  <c:v>1400</c:v>
                </c:pt>
                <c:pt idx="54">
                  <c:v>1426</c:v>
                </c:pt>
                <c:pt idx="55">
                  <c:v>1445</c:v>
                </c:pt>
                <c:pt idx="56">
                  <c:v>1461</c:v>
                </c:pt>
                <c:pt idx="57">
                  <c:v>1496</c:v>
                </c:pt>
                <c:pt idx="58">
                  <c:v>1523</c:v>
                </c:pt>
                <c:pt idx="59">
                  <c:v>1545</c:v>
                </c:pt>
                <c:pt idx="60">
                  <c:v>1561</c:v>
                </c:pt>
                <c:pt idx="61">
                  <c:v>1605</c:v>
                </c:pt>
                <c:pt idx="62">
                  <c:v>1639</c:v>
                </c:pt>
                <c:pt idx="63">
                  <c:v>1674</c:v>
                </c:pt>
                <c:pt idx="64">
                  <c:v>1704</c:v>
                </c:pt>
                <c:pt idx="65">
                  <c:v>1740</c:v>
                </c:pt>
                <c:pt idx="66">
                  <c:v>1764</c:v>
                </c:pt>
                <c:pt idx="67">
                  <c:v>1781</c:v>
                </c:pt>
                <c:pt idx="68">
                  <c:v>1851</c:v>
                </c:pt>
                <c:pt idx="69">
                  <c:v>1901</c:v>
                </c:pt>
                <c:pt idx="70">
                  <c:v>1944</c:v>
                </c:pt>
                <c:pt idx="71">
                  <c:v>1978</c:v>
                </c:pt>
                <c:pt idx="72">
                  <c:v>2011</c:v>
                </c:pt>
                <c:pt idx="73">
                  <c:v>2022</c:v>
                </c:pt>
                <c:pt idx="74">
                  <c:v>2037</c:v>
                </c:pt>
                <c:pt idx="75">
                  <c:v>2105</c:v>
                </c:pt>
                <c:pt idx="76">
                  <c:v>2136</c:v>
                </c:pt>
                <c:pt idx="77">
                  <c:v>2179</c:v>
                </c:pt>
                <c:pt idx="78">
                  <c:v>2213</c:v>
                </c:pt>
                <c:pt idx="79">
                  <c:v>2237</c:v>
                </c:pt>
                <c:pt idx="80">
                  <c:v>2261</c:v>
                </c:pt>
                <c:pt idx="81">
                  <c:v>2274</c:v>
                </c:pt>
                <c:pt idx="82">
                  <c:v>2304</c:v>
                </c:pt>
                <c:pt idx="83">
                  <c:v>2333</c:v>
                </c:pt>
                <c:pt idx="84">
                  <c:v>2382</c:v>
                </c:pt>
                <c:pt idx="85">
                  <c:v>2403</c:v>
                </c:pt>
                <c:pt idx="86">
                  <c:v>2434</c:v>
                </c:pt>
                <c:pt idx="87">
                  <c:v>2450</c:v>
                </c:pt>
                <c:pt idx="88">
                  <c:v>2458</c:v>
                </c:pt>
                <c:pt idx="89">
                  <c:v>2493</c:v>
                </c:pt>
                <c:pt idx="90">
                  <c:v>2515</c:v>
                </c:pt>
                <c:pt idx="91">
                  <c:v>2534</c:v>
                </c:pt>
                <c:pt idx="92">
                  <c:v>2558</c:v>
                </c:pt>
                <c:pt idx="93">
                  <c:v>25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050.689555111838</c:v>
                </c:pt>
                <c:pt idx="32">
                  <c:v>1072.4843975202255</c:v>
                </c:pt>
                <c:pt idx="33">
                  <c:v>1093.4093944670012</c:v>
                </c:pt>
                <c:pt idx="34">
                  <c:v>1113.4894958485029</c:v>
                </c:pt>
                <c:pt idx="35">
                  <c:v>1132.7496510940446</c:v>
                </c:pt>
                <c:pt idx="36">
                  <c:v>1151.2355619741495</c:v>
                </c:pt>
                <c:pt idx="37">
                  <c:v>1168.9703000240067</c:v>
                </c:pt>
                <c:pt idx="38">
                  <c:v>1185.976841787543</c:v>
                </c:pt>
                <c:pt idx="39">
                  <c:v>1202.2780146811913</c:v>
                </c:pt>
                <c:pt idx="40">
                  <c:v>1217.896448514796</c:v>
                </c:pt>
                <c:pt idx="41">
                  <c:v>1233.0262826520363</c:v>
                </c:pt>
                <c:pt idx="42">
                  <c:v>1247.8122050316131</c:v>
                </c:pt>
                <c:pt idx="43">
                  <c:v>1262.3427841903651</c:v>
                </c:pt>
                <c:pt idx="44">
                  <c:v>1276.6748212687914</c:v>
                </c:pt>
                <c:pt idx="45">
                  <c:v>1290.8476509545585</c:v>
                </c:pt>
                <c:pt idx="46">
                  <c:v>1304.8912429501813</c:v>
                </c:pt>
                <c:pt idx="47">
                  <c:v>1318.8297119069487</c:v>
                </c:pt>
                <c:pt idx="48">
                  <c:v>1332.6825518242301</c:v>
                </c:pt>
                <c:pt idx="49">
                  <c:v>1346.4648433425425</c:v>
                </c:pt>
                <c:pt idx="50">
                  <c:v>1360.1859455128122</c:v>
                </c:pt>
                <c:pt idx="51">
                  <c:v>1373.8517432829153</c:v>
                </c:pt>
                <c:pt idx="52">
                  <c:v>1387.4652594618403</c:v>
                </c:pt>
                <c:pt idx="53">
                  <c:v>1401.027028322314</c:v>
                </c:pt>
                <c:pt idx="54">
                  <c:v>1414.5360409937794</c:v>
                </c:pt>
                <c:pt idx="55">
                  <c:v>1427.9900635880192</c:v>
                </c:pt>
                <c:pt idx="56">
                  <c:v>1441.3859051850345</c:v>
                </c:pt>
                <c:pt idx="57">
                  <c:v>1454.7201158736409</c:v>
                </c:pt>
                <c:pt idx="58">
                  <c:v>1467.9883507447214</c:v>
                </c:pt>
                <c:pt idx="59">
                  <c:v>1481.1858859607469</c:v>
                </c:pt>
                <c:pt idx="60">
                  <c:v>1494.3077535505597</c:v>
                </c:pt>
                <c:pt idx="61">
                  <c:v>1507.3489335510969</c:v>
                </c:pt>
                <c:pt idx="62">
                  <c:v>1520.3044618340805</c:v>
                </c:pt>
                <c:pt idx="63">
                  <c:v>1533.1694802655743</c:v>
                </c:pt>
                <c:pt idx="64">
                  <c:v>1545.9393371036495</c:v>
                </c:pt>
                <c:pt idx="65">
                  <c:v>1558.6093709160029</c:v>
                </c:pt>
                <c:pt idx="66">
                  <c:v>1571.1749943429095</c:v>
                </c:pt>
                <c:pt idx="67">
                  <c:v>1583.6319797634262</c:v>
                </c:pt>
                <c:pt idx="68">
                  <c:v>1595.9762480144257</c:v>
                </c:pt>
                <c:pt idx="69">
                  <c:v>1608.203730592473</c:v>
                </c:pt>
                <c:pt idx="70">
                  <c:v>1620.3111300477512</c:v>
                </c:pt>
                <c:pt idx="71">
                  <c:v>1632.2957202589944</c:v>
                </c:pt>
                <c:pt idx="72">
                  <c:v>1644.1550086687862</c:v>
                </c:pt>
                <c:pt idx="73">
                  <c:v>1655.8867422104981</c:v>
                </c:pt>
                <c:pt idx="74">
                  <c:v>1667.4889083490857</c:v>
                </c:pt>
                <c:pt idx="75">
                  <c:v>1678.9597336594773</c:v>
                </c:pt>
                <c:pt idx="76">
                  <c:v>1690.2976792349466</c:v>
                </c:pt>
                <c:pt idx="77">
                  <c:v>1701.5014304440574</c:v>
                </c:pt>
                <c:pt idx="78">
                  <c:v>1712.5698819662489</c:v>
                </c:pt>
                <c:pt idx="79">
                  <c:v>1723.5021151404305</c:v>
                </c:pt>
                <c:pt idx="80">
                  <c:v>1734.2973811252111</c:v>
                </c:pt>
                <c:pt idx="81">
                  <c:v>1744.9550854958379</c:v>
                </c:pt>
                <c:pt idx="82">
                  <c:v>1755.4747739613479</c:v>
                </c:pt>
                <c:pt idx="83">
                  <c:v>1765.8561208292676</c:v>
                </c:pt>
                <c:pt idx="84">
                  <c:v>1776.0989183395022</c:v>
                </c:pt>
                <c:pt idx="85">
                  <c:v>1786.2030674915732</c:v>
                </c:pt>
                <c:pt idx="86">
                  <c:v>1796.1685712449876</c:v>
                </c:pt>
                <c:pt idx="87">
                  <c:v>1805.9955259853621</c:v>
                </c:pt>
                <c:pt idx="88">
                  <c:v>1815.6841150226924</c:v>
                </c:pt>
                <c:pt idx="89">
                  <c:v>1825.23460277954</c:v>
                </c:pt>
                <c:pt idx="90">
                  <c:v>1834.6473298486987</c:v>
                </c:pt>
                <c:pt idx="91">
                  <c:v>1843.9227085383141</c:v>
                </c:pt>
                <c:pt idx="92">
                  <c:v>1853.061218865703</c:v>
                </c:pt>
                <c:pt idx="93">
                  <c:v>1862.0634053272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050.689555111838</c:v>
                </c:pt>
                <c:pt idx="32">
                  <c:v>1072.4843975202255</c:v>
                </c:pt>
                <c:pt idx="33">
                  <c:v>1093.4093944670012</c:v>
                </c:pt>
                <c:pt idx="34">
                  <c:v>1113.7823412801226</c:v>
                </c:pt>
                <c:pt idx="35">
                  <c:v>1134.1889288228292</c:v>
                </c:pt>
                <c:pt idx="36">
                  <c:v>1154.8319039259864</c:v>
                </c:pt>
                <c:pt idx="37">
                  <c:v>1175.8009397516898</c:v>
                </c:pt>
                <c:pt idx="38">
                  <c:v>1197.1642885281244</c:v>
                </c:pt>
                <c:pt idx="39">
                  <c:v>1218.9804806143497</c:v>
                </c:pt>
                <c:pt idx="40">
                  <c:v>1241.3025406009328</c:v>
                </c:pt>
                <c:pt idx="41">
                  <c:v>1264.1790236431721</c:v>
                </c:pt>
                <c:pt idx="42">
                  <c:v>1287.6536238256804</c:v>
                </c:pt>
                <c:pt idx="43">
                  <c:v>1311.762437173154</c:v>
                </c:pt>
                <c:pt idx="44">
                  <c:v>1336.537173539821</c:v>
                </c:pt>
                <c:pt idx="45">
                  <c:v>1362.0055820456125</c:v>
                </c:pt>
                <c:pt idx="46">
                  <c:v>1388.1915511296331</c:v>
                </c:pt>
                <c:pt idx="47">
                  <c:v>1415.1162514680632</c:v>
                </c:pt>
                <c:pt idx="48">
                  <c:v>1442.798260893187</c:v>
                </c:pt>
                <c:pt idx="49">
                  <c:v>1471.2536031238246</c:v>
                </c:pt>
                <c:pt idx="50">
                  <c:v>1500.4965869449557</c:v>
                </c:pt>
                <c:pt idx="51">
                  <c:v>1530.5384215612294</c:v>
                </c:pt>
                <c:pt idx="52">
                  <c:v>1561.3877964628332</c:v>
                </c:pt>
                <c:pt idx="53">
                  <c:v>1593.0508219125072</c:v>
                </c:pt>
                <c:pt idx="54">
                  <c:v>1625.5310877737984</c:v>
                </c:pt>
                <c:pt idx="55">
                  <c:v>1658.8296102098793</c:v>
                </c:pt>
                <c:pt idx="56">
                  <c:v>1692.9446909507851</c:v>
                </c:pt>
                <c:pt idx="57">
                  <c:v>1727.8718700850809</c:v>
                </c:pt>
                <c:pt idx="58">
                  <c:v>1763.6034070202852</c:v>
                </c:pt>
                <c:pt idx="59">
                  <c:v>1800.1282709109428</c:v>
                </c:pt>
                <c:pt idx="60">
                  <c:v>1837.4324868305077</c:v>
                </c:pt>
                <c:pt idx="61">
                  <c:v>1875.4986802966491</c:v>
                </c:pt>
                <c:pt idx="62">
                  <c:v>1914.3057676496344</c:v>
                </c:pt>
                <c:pt idx="63">
                  <c:v>1953.8293694882552</c:v>
                </c:pt>
                <c:pt idx="64">
                  <c:v>1994.0416531044104</c:v>
                </c:pt>
                <c:pt idx="65">
                  <c:v>2034.9110570113869</c:v>
                </c:pt>
                <c:pt idx="66">
                  <c:v>2076.402494925534</c:v>
                </c:pt>
                <c:pt idx="67">
                  <c:v>2118.4775173068306</c:v>
                </c:pt>
                <c:pt idx="68">
                  <c:v>2161.0944744947401</c:v>
                </c:pt>
                <c:pt idx="69">
                  <c:v>2204.2087002597414</c:v>
                </c:pt>
                <c:pt idx="70">
                  <c:v>2247.7743963377407</c:v>
                </c:pt>
                <c:pt idx="71">
                  <c:v>2291.7444768426926</c:v>
                </c:pt>
                <c:pt idx="72">
                  <c:v>2336.0703871258024</c:v>
                </c:pt>
                <c:pt idx="73">
                  <c:v>2380.7021592406413</c:v>
                </c:pt>
                <c:pt idx="74">
                  <c:v>2425.5885960272467</c:v>
                </c:pt>
                <c:pt idx="75">
                  <c:v>2470.6775220169739</c:v>
                </c:pt>
                <c:pt idx="76">
                  <c:v>2515.9160619984746</c:v>
                </c:pt>
                <c:pt idx="77">
                  <c:v>2561.2509234637355</c:v>
                </c:pt>
                <c:pt idx="78">
                  <c:v>2606.628674518247</c:v>
                </c:pt>
                <c:pt idx="79">
                  <c:v>2651.9960008195985</c:v>
                </c:pt>
                <c:pt idx="80">
                  <c:v>2697.2999781144299</c:v>
                </c:pt>
                <c:pt idx="81">
                  <c:v>2742.4883423485985</c:v>
                </c:pt>
                <c:pt idx="82">
                  <c:v>2787.509752956074</c:v>
                </c:pt>
                <c:pt idx="83">
                  <c:v>2832.3140520782817</c:v>
                </c:pt>
                <c:pt idx="84">
                  <c:v>2876.8525110872811</c:v>
                </c:pt>
                <c:pt idx="85">
                  <c:v>2921.0780631450853</c:v>
                </c:pt>
                <c:pt idx="86">
                  <c:v>2964.9455232375476</c:v>
                </c:pt>
                <c:pt idx="87">
                  <c:v>3008.4117805730789</c:v>
                </c:pt>
                <c:pt idx="88">
                  <c:v>3051.4359737257182</c:v>
                </c:pt>
                <c:pt idx="89">
                  <c:v>3093.9796432969883</c:v>
                </c:pt>
                <c:pt idx="90">
                  <c:v>3136.0068619653816</c:v>
                </c:pt>
                <c:pt idx="91">
                  <c:v>3177.4843405242627</c:v>
                </c:pt>
                <c:pt idx="92">
                  <c:v>3218.3815096336289</c:v>
                </c:pt>
                <c:pt idx="93">
                  <c:v>3258.6705784938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050.689555111838</c:v>
                </c:pt>
                <c:pt idx="32">
                  <c:v>1072.4843975202255</c:v>
                </c:pt>
                <c:pt idx="33">
                  <c:v>1093.4093944670012</c:v>
                </c:pt>
                <c:pt idx="34">
                  <c:v>1114.0751867117424</c:v>
                </c:pt>
                <c:pt idx="35">
                  <c:v>1134.9232486505871</c:v>
                </c:pt>
                <c:pt idx="36">
                  <c:v>1156.2440857103306</c:v>
                </c:pt>
                <c:pt idx="37">
                  <c:v>1178.2170442151757</c:v>
                </c:pt>
                <c:pt idx="38">
                  <c:v>1200.9786286214744</c:v>
                </c:pt>
                <c:pt idx="39">
                  <c:v>1224.6458996473586</c:v>
                </c:pt>
                <c:pt idx="40">
                  <c:v>1249.3249064739584</c:v>
                </c:pt>
                <c:pt idx="41">
                  <c:v>1275.1127594118707</c:v>
                </c:pt>
                <c:pt idx="42">
                  <c:v>1302.0968466303211</c:v>
                </c:pt>
                <c:pt idx="43">
                  <c:v>1330.3493601787018</c:v>
                </c:pt>
                <c:pt idx="44">
                  <c:v>1359.9337197654716</c:v>
                </c:pt>
                <c:pt idx="45">
                  <c:v>1390.9054236304905</c:v>
                </c:pt>
                <c:pt idx="46">
                  <c:v>1423.312248651961</c:v>
                </c:pt>
                <c:pt idx="47">
                  <c:v>1457.1965361822549</c:v>
                </c:pt>
                <c:pt idx="48">
                  <c:v>1492.5954418859365</c:v>
                </c:pt>
                <c:pt idx="49">
                  <c:v>1529.5410132006496</c:v>
                </c:pt>
                <c:pt idx="50">
                  <c:v>1568.0618676963454</c:v>
                </c:pt>
                <c:pt idx="51">
                  <c:v>1608.1804237823242</c:v>
                </c:pt>
                <c:pt idx="52">
                  <c:v>1649.9140604389636</c:v>
                </c:pt>
                <c:pt idx="53">
                  <c:v>1693.2749981917473</c:v>
                </c:pt>
                <c:pt idx="54">
                  <c:v>1738.2704167677612</c:v>
                </c:pt>
                <c:pt idx="55">
                  <c:v>1784.9023484933591</c:v>
                </c:pt>
                <c:pt idx="56">
                  <c:v>1833.1673968286043</c:v>
                </c:pt>
                <c:pt idx="57">
                  <c:v>1883.0566419506274</c:v>
                </c:pt>
                <c:pt idx="58">
                  <c:v>1934.5546026744719</c:v>
                </c:pt>
                <c:pt idx="59">
                  <c:v>1987.6392173092208</c:v>
                </c:pt>
                <c:pt idx="60">
                  <c:v>2042.2825360017844</c:v>
                </c:pt>
                <c:pt idx="61">
                  <c:v>2098.4498097875007</c:v>
                </c:pt>
                <c:pt idx="62">
                  <c:v>2156.0988713469051</c:v>
                </c:pt>
                <c:pt idx="63">
                  <c:v>2215.1809618775783</c:v>
                </c:pt>
                <c:pt idx="64">
                  <c:v>2275.6404159633244</c:v>
                </c:pt>
                <c:pt idx="65">
                  <c:v>2337.4141106307088</c:v>
                </c:pt>
                <c:pt idx="66">
                  <c:v>2400.4318733124387</c:v>
                </c:pt>
                <c:pt idx="67">
                  <c:v>2464.6168049284652</c:v>
                </c:pt>
                <c:pt idx="68">
                  <c:v>2529.8856061577158</c:v>
                </c:pt>
                <c:pt idx="69">
                  <c:v>2596.1489445411539</c:v>
                </c:pt>
                <c:pt idx="70">
                  <c:v>2663.3152235505859</c:v>
                </c:pt>
                <c:pt idx="71">
                  <c:v>2731.2902714139209</c:v>
                </c:pt>
                <c:pt idx="72">
                  <c:v>2799.9769788335739</c:v>
                </c:pt>
                <c:pt idx="73">
                  <c:v>2869.2754099166827</c:v>
                </c:pt>
                <c:pt idx="74">
                  <c:v>2939.0831703433273</c:v>
                </c:pt>
                <c:pt idx="75">
                  <c:v>3009.2959091762177</c:v>
                </c:pt>
                <c:pt idx="76">
                  <c:v>3079.807875992653</c:v>
                </c:pt>
                <c:pt idx="77">
                  <c:v>3150.5124857766109</c:v>
                </c:pt>
                <c:pt idx="78">
                  <c:v>3221.3028747390676</c:v>
                </c:pt>
                <c:pt idx="79">
                  <c:v>3292.0724141952028</c:v>
                </c:pt>
                <c:pt idx="80">
                  <c:v>3362.7152556382998</c:v>
                </c:pt>
                <c:pt idx="81">
                  <c:v>3433.1268709600713</c:v>
                </c:pt>
                <c:pt idx="82">
                  <c:v>3503.204579028456</c:v>
                </c:pt>
                <c:pt idx="83">
                  <c:v>3572.848064126305</c:v>
                </c:pt>
                <c:pt idx="84">
                  <c:v>3641.9598689977415</c:v>
                </c:pt>
                <c:pt idx="85">
                  <c:v>3710.4458599667787</c:v>
                </c:pt>
                <c:pt idx="86">
                  <c:v>3778.2156670051418</c:v>
                </c:pt>
                <c:pt idx="87">
                  <c:v>3845.1830685296359</c:v>
                </c:pt>
                <c:pt idx="88">
                  <c:v>3911.2663416883461</c:v>
                </c:pt>
                <c:pt idx="89">
                  <c:v>3976.3885676843202</c:v>
                </c:pt>
                <c:pt idx="90">
                  <c:v>4040.4778918745401</c:v>
                </c:pt>
                <c:pt idx="91">
                  <c:v>4103.4677358457357</c:v>
                </c:pt>
                <c:pt idx="92">
                  <c:v>4165.2969609179017</c:v>
                </c:pt>
                <c:pt idx="93">
                  <c:v>4225.90998549180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26</c:v>
                </c:pt>
                <c:pt idx="1">
                  <c:v>50</c:v>
                </c:pt>
                <c:pt idx="2">
                  <c:v>70</c:v>
                </c:pt>
                <c:pt idx="3">
                  <c:v>85</c:v>
                </c:pt>
                <c:pt idx="4">
                  <c:v>105</c:v>
                </c:pt>
                <c:pt idx="5">
                  <c:v>127</c:v>
                </c:pt>
                <c:pt idx="6">
                  <c:v>155</c:v>
                </c:pt>
                <c:pt idx="7">
                  <c:v>177</c:v>
                </c:pt>
                <c:pt idx="8">
                  <c:v>201</c:v>
                </c:pt>
                <c:pt idx="9">
                  <c:v>215</c:v>
                </c:pt>
                <c:pt idx="10">
                  <c:v>232</c:v>
                </c:pt>
                <c:pt idx="11">
                  <c:v>247</c:v>
                </c:pt>
                <c:pt idx="12">
                  <c:v>260</c:v>
                </c:pt>
                <c:pt idx="13">
                  <c:v>283</c:v>
                </c:pt>
                <c:pt idx="14">
                  <c:v>295</c:v>
                </c:pt>
                <c:pt idx="15">
                  <c:v>312</c:v>
                </c:pt>
                <c:pt idx="16">
                  <c:v>336</c:v>
                </c:pt>
                <c:pt idx="17">
                  <c:v>346</c:v>
                </c:pt>
                <c:pt idx="18">
                  <c:v>357</c:v>
                </c:pt>
                <c:pt idx="19">
                  <c:v>373</c:v>
                </c:pt>
                <c:pt idx="20">
                  <c:v>388</c:v>
                </c:pt>
                <c:pt idx="21">
                  <c:v>400</c:v>
                </c:pt>
                <c:pt idx="22">
                  <c:v>412</c:v>
                </c:pt>
                <c:pt idx="23">
                  <c:v>421</c:v>
                </c:pt>
                <c:pt idx="24">
                  <c:v>433</c:v>
                </c:pt>
                <c:pt idx="25">
                  <c:v>443</c:v>
                </c:pt>
                <c:pt idx="26">
                  <c:v>460</c:v>
                </c:pt>
                <c:pt idx="27">
                  <c:v>479</c:v>
                </c:pt>
                <c:pt idx="28">
                  <c:v>492</c:v>
                </c:pt>
                <c:pt idx="29">
                  <c:v>506</c:v>
                </c:pt>
                <c:pt idx="30">
                  <c:v>522</c:v>
                </c:pt>
                <c:pt idx="31">
                  <c:v>531</c:v>
                </c:pt>
                <c:pt idx="32">
                  <c:v>536</c:v>
                </c:pt>
                <c:pt idx="33">
                  <c:v>554</c:v>
                </c:pt>
                <c:pt idx="34">
                  <c:v>570</c:v>
                </c:pt>
                <c:pt idx="35">
                  <c:v>580</c:v>
                </c:pt>
                <c:pt idx="36">
                  <c:v>591</c:v>
                </c:pt>
                <c:pt idx="37">
                  <c:v>600</c:v>
                </c:pt>
                <c:pt idx="38">
                  <c:v>607</c:v>
                </c:pt>
                <c:pt idx="39">
                  <c:v>611</c:v>
                </c:pt>
                <c:pt idx="40">
                  <c:v>626</c:v>
                </c:pt>
                <c:pt idx="41">
                  <c:v>634</c:v>
                </c:pt>
                <c:pt idx="42">
                  <c:v>639</c:v>
                </c:pt>
                <c:pt idx="43">
                  <c:v>649</c:v>
                </c:pt>
                <c:pt idx="44">
                  <c:v>659</c:v>
                </c:pt>
                <c:pt idx="45">
                  <c:v>663</c:v>
                </c:pt>
                <c:pt idx="46">
                  <c:v>667</c:v>
                </c:pt>
                <c:pt idx="47">
                  <c:v>677</c:v>
                </c:pt>
                <c:pt idx="48">
                  <c:v>685</c:v>
                </c:pt>
                <c:pt idx="49">
                  <c:v>696</c:v>
                </c:pt>
                <c:pt idx="50">
                  <c:v>705</c:v>
                </c:pt>
                <c:pt idx="51">
                  <c:v>712</c:v>
                </c:pt>
                <c:pt idx="52">
                  <c:v>719</c:v>
                </c:pt>
                <c:pt idx="53">
                  <c:v>728</c:v>
                </c:pt>
                <c:pt idx="54">
                  <c:v>747</c:v>
                </c:pt>
                <c:pt idx="55">
                  <c:v>771</c:v>
                </c:pt>
                <c:pt idx="56">
                  <c:v>786</c:v>
                </c:pt>
                <c:pt idx="57">
                  <c:v>796</c:v>
                </c:pt>
                <c:pt idx="58">
                  <c:v>806</c:v>
                </c:pt>
                <c:pt idx="59">
                  <c:v>824</c:v>
                </c:pt>
                <c:pt idx="60">
                  <c:v>844</c:v>
                </c:pt>
                <c:pt idx="61">
                  <c:v>865</c:v>
                </c:pt>
                <c:pt idx="62">
                  <c:v>892</c:v>
                </c:pt>
                <c:pt idx="63">
                  <c:v>912</c:v>
                </c:pt>
                <c:pt idx="64">
                  <c:v>928</c:v>
                </c:pt>
                <c:pt idx="65">
                  <c:v>958</c:v>
                </c:pt>
                <c:pt idx="66">
                  <c:v>974</c:v>
                </c:pt>
                <c:pt idx="67">
                  <c:v>995</c:v>
                </c:pt>
                <c:pt idx="68">
                  <c:v>1023</c:v>
                </c:pt>
                <c:pt idx="69">
                  <c:v>1045</c:v>
                </c:pt>
                <c:pt idx="70">
                  <c:v>1074</c:v>
                </c:pt>
                <c:pt idx="71">
                  <c:v>1095</c:v>
                </c:pt>
                <c:pt idx="72">
                  <c:v>1106</c:v>
                </c:pt>
                <c:pt idx="73">
                  <c:v>1118</c:v>
                </c:pt>
                <c:pt idx="74">
                  <c:v>1135</c:v>
                </c:pt>
                <c:pt idx="75">
                  <c:v>1165</c:v>
                </c:pt>
                <c:pt idx="76">
                  <c:v>1185</c:v>
                </c:pt>
                <c:pt idx="77">
                  <c:v>1202</c:v>
                </c:pt>
                <c:pt idx="78">
                  <c:v>1215</c:v>
                </c:pt>
                <c:pt idx="79">
                  <c:v>1241</c:v>
                </c:pt>
                <c:pt idx="80">
                  <c:v>1250</c:v>
                </c:pt>
                <c:pt idx="81">
                  <c:v>1276</c:v>
                </c:pt>
                <c:pt idx="82">
                  <c:v>1287</c:v>
                </c:pt>
                <c:pt idx="83">
                  <c:v>1302</c:v>
                </c:pt>
                <c:pt idx="84">
                  <c:v>1316</c:v>
                </c:pt>
                <c:pt idx="85">
                  <c:v>1334</c:v>
                </c:pt>
                <c:pt idx="86">
                  <c:v>1353</c:v>
                </c:pt>
                <c:pt idx="87">
                  <c:v>1359</c:v>
                </c:pt>
                <c:pt idx="88">
                  <c:v>1373</c:v>
                </c:pt>
                <c:pt idx="89">
                  <c:v>1387</c:v>
                </c:pt>
                <c:pt idx="90">
                  <c:v>1397</c:v>
                </c:pt>
                <c:pt idx="91">
                  <c:v>1411</c:v>
                </c:pt>
                <c:pt idx="92">
                  <c:v>1421</c:v>
                </c:pt>
                <c:pt idx="93">
                  <c:v>14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29.54769227643135</c:v>
                </c:pt>
                <c:pt idx="32">
                  <c:v>540.64002670541561</c:v>
                </c:pt>
                <c:pt idx="33">
                  <c:v>551.28965929783965</c:v>
                </c:pt>
                <c:pt idx="34">
                  <c:v>561.50928813102666</c:v>
                </c:pt>
                <c:pt idx="35">
                  <c:v>571.31161104461137</c:v>
                </c:pt>
                <c:pt idx="36">
                  <c:v>580.71988763887612</c:v>
                </c:pt>
                <c:pt idx="37">
                  <c:v>589.74586001221803</c:v>
                </c:pt>
                <c:pt idx="38">
                  <c:v>598.40122191788771</c:v>
                </c:pt>
                <c:pt idx="39">
                  <c:v>606.6975912117282</c:v>
                </c:pt>
                <c:pt idx="40">
                  <c:v>614.64648517907494</c:v>
                </c:pt>
                <c:pt idx="41">
                  <c:v>622.34670970745901</c:v>
                </c:pt>
                <c:pt idx="42">
                  <c:v>629.87190272340615</c:v>
                </c:pt>
                <c:pt idx="43">
                  <c:v>637.26714057168158</c:v>
                </c:pt>
                <c:pt idx="44">
                  <c:v>644.56133180021402</c:v>
                </c:pt>
                <c:pt idx="45">
                  <c:v>651.77449552646624</c:v>
                </c:pt>
                <c:pt idx="46">
                  <c:v>658.92188462342551</c:v>
                </c:pt>
                <c:pt idx="47">
                  <c:v>666.01577207621926</c:v>
                </c:pt>
                <c:pt idx="48">
                  <c:v>673.06607922111209</c:v>
                </c:pt>
                <c:pt idx="49">
                  <c:v>680.08048124587913</c:v>
                </c:pt>
                <c:pt idx="50">
                  <c:v>687.06374137481305</c:v>
                </c:pt>
                <c:pt idx="51">
                  <c:v>694.01885471146716</c:v>
                </c:pt>
                <c:pt idx="52">
                  <c:v>700.9473596935868</c:v>
                </c:pt>
                <c:pt idx="53">
                  <c:v>707.84952823558399</c:v>
                </c:pt>
                <c:pt idx="54">
                  <c:v>714.72484687976066</c:v>
                </c:pt>
                <c:pt idx="55">
                  <c:v>721.57217870414615</c:v>
                </c:pt>
                <c:pt idx="56">
                  <c:v>728.38989971205808</c:v>
                </c:pt>
                <c:pt idx="57">
                  <c:v>735.17625409503989</c:v>
                </c:pt>
                <c:pt idx="58">
                  <c:v>741.9290305416223</c:v>
                </c:pt>
                <c:pt idx="59">
                  <c:v>748.64582488733936</c:v>
                </c:pt>
                <c:pt idx="60">
                  <c:v>755.3241087176018</c:v>
                </c:pt>
                <c:pt idx="61">
                  <c:v>761.96132715689964</c:v>
                </c:pt>
                <c:pt idx="62">
                  <c:v>768.55495374645068</c:v>
                </c:pt>
                <c:pt idx="63">
                  <c:v>775.10251597256058</c:v>
                </c:pt>
                <c:pt idx="64">
                  <c:v>781.60164636332081</c:v>
                </c:pt>
                <c:pt idx="65">
                  <c:v>788.04997251497389</c:v>
                </c:pt>
                <c:pt idx="66">
                  <c:v>794.44515972248894</c:v>
                </c:pt>
                <c:pt idx="67">
                  <c:v>800.78505636740238</c:v>
                </c:pt>
                <c:pt idx="68">
                  <c:v>807.06758638782969</c:v>
                </c:pt>
                <c:pt idx="69">
                  <c:v>813.29067914706354</c:v>
                </c:pt>
                <c:pt idx="70">
                  <c:v>819.45265643080677</c:v>
                </c:pt>
                <c:pt idx="71">
                  <c:v>825.55213079848011</c:v>
                </c:pt>
                <c:pt idx="72">
                  <c:v>831.58783368021159</c:v>
                </c:pt>
                <c:pt idx="73">
                  <c:v>837.55861839331055</c:v>
                </c:pt>
                <c:pt idx="74">
                  <c:v>843.46346067197385</c:v>
                </c:pt>
                <c:pt idx="75">
                  <c:v>849.30145794376665</c:v>
                </c:pt>
                <c:pt idx="76">
                  <c:v>855.0718269927454</c:v>
                </c:pt>
                <c:pt idx="77">
                  <c:v>860.77389874632547</c:v>
                </c:pt>
                <c:pt idx="78">
                  <c:v>866.40711065924563</c:v>
                </c:pt>
                <c:pt idx="79">
                  <c:v>871.97099518529262</c:v>
                </c:pt>
                <c:pt idx="80">
                  <c:v>877.46517120681517</c:v>
                </c:pt>
                <c:pt idx="81">
                  <c:v>882.88933619544309</c:v>
                </c:pt>
                <c:pt idx="82">
                  <c:v>888.2432589429302</c:v>
                </c:pt>
                <c:pt idx="83">
                  <c:v>893.52677369034302</c:v>
                </c:pt>
                <c:pt idx="84">
                  <c:v>898.73977469961687</c:v>
                </c:pt>
                <c:pt idx="85">
                  <c:v>903.88221158514239</c:v>
                </c:pt>
                <c:pt idx="86">
                  <c:v>908.95408585314033</c:v>
                </c:pt>
                <c:pt idx="87">
                  <c:v>913.95544655840411</c:v>
                </c:pt>
                <c:pt idx="88">
                  <c:v>918.88638699528929</c:v>
                </c:pt>
                <c:pt idx="89">
                  <c:v>923.74704173983116</c:v>
                </c:pt>
                <c:pt idx="90">
                  <c:v>928.53758413437868</c:v>
                </c:pt>
                <c:pt idx="91">
                  <c:v>933.25822402031292</c:v>
                </c:pt>
                <c:pt idx="92">
                  <c:v>937.90920569913033</c:v>
                </c:pt>
                <c:pt idx="93">
                  <c:v>942.490806288506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29.54769227643135</c:v>
                </c:pt>
                <c:pt idx="32">
                  <c:v>540.64002670541561</c:v>
                </c:pt>
                <c:pt idx="33">
                  <c:v>551.28965929783965</c:v>
                </c:pt>
                <c:pt idx="34">
                  <c:v>561.65832978972094</c:v>
                </c:pt>
                <c:pt idx="35">
                  <c:v>572.04412149844802</c:v>
                </c:pt>
                <c:pt idx="36">
                  <c:v>582.55022102249382</c:v>
                </c:pt>
                <c:pt idx="37">
                  <c:v>593.22226689801448</c:v>
                </c:pt>
                <c:pt idx="38">
                  <c:v>604.09499562488281</c:v>
                </c:pt>
                <c:pt idx="39">
                  <c:v>615.19819582486411</c:v>
                </c:pt>
                <c:pt idx="40">
                  <c:v>626.55885399689748</c:v>
                </c:pt>
                <c:pt idx="41">
                  <c:v>638.20168195172823</c:v>
                </c:pt>
                <c:pt idx="42">
                  <c:v>650.14891749176911</c:v>
                </c:pt>
                <c:pt idx="43">
                  <c:v>662.4189314393451</c:v>
                </c:pt>
                <c:pt idx="44">
                  <c:v>675.02786230563254</c:v>
                </c:pt>
                <c:pt idx="45">
                  <c:v>687.98983281345818</c:v>
                </c:pt>
                <c:pt idx="46">
                  <c:v>701.3170008188215</c:v>
                </c:pt>
                <c:pt idx="47">
                  <c:v>715.02014099106316</c:v>
                </c:pt>
                <c:pt idx="48">
                  <c:v>729.10870838954088</c:v>
                </c:pt>
                <c:pt idx="49">
                  <c:v>743.59085817521498</c:v>
                </c:pt>
                <c:pt idx="50">
                  <c:v>758.47387270531908</c:v>
                </c:pt>
                <c:pt idx="51">
                  <c:v>773.76345682709734</c:v>
                </c:pt>
                <c:pt idx="52">
                  <c:v>789.4640329965315</c:v>
                </c:pt>
                <c:pt idx="53">
                  <c:v>805.57871098961766</c:v>
                </c:pt>
                <c:pt idx="54">
                  <c:v>822.10931784259992</c:v>
                </c:pt>
                <c:pt idx="55">
                  <c:v>839.0563707247029</c:v>
                </c:pt>
                <c:pt idx="56">
                  <c:v>856.41900531316389</c:v>
                </c:pt>
                <c:pt idx="57">
                  <c:v>874.1949517668786</c:v>
                </c:pt>
                <c:pt idx="58">
                  <c:v>892.38027056479564</c:v>
                </c:pt>
                <c:pt idx="59">
                  <c:v>910.96934763434979</c:v>
                </c:pt>
                <c:pt idx="60">
                  <c:v>929.95507053325036</c:v>
                </c:pt>
                <c:pt idx="61">
                  <c:v>949.32859663878241</c:v>
                </c:pt>
                <c:pt idx="62">
                  <c:v>969.07919556802528</c:v>
                </c:pt>
                <c:pt idx="63">
                  <c:v>989.19445959320956</c:v>
                </c:pt>
                <c:pt idx="64">
                  <c:v>1009.6602234498869</c:v>
                </c:pt>
                <c:pt idx="65">
                  <c:v>1030.4604241375025</c:v>
                </c:pt>
                <c:pt idx="66">
                  <c:v>1051.5772047344587</c:v>
                </c:pt>
                <c:pt idx="67">
                  <c:v>1072.9909966130699</c:v>
                </c:pt>
                <c:pt idx="68">
                  <c:v>1094.6806024664288</c:v>
                </c:pt>
                <c:pt idx="69">
                  <c:v>1116.6232897256896</c:v>
                </c:pt>
                <c:pt idx="70">
                  <c:v>1138.795749680834</c:v>
                </c:pt>
                <c:pt idx="71">
                  <c:v>1161.1740182955493</c:v>
                </c:pt>
                <c:pt idx="72">
                  <c:v>1183.7333840168717</c:v>
                </c:pt>
                <c:pt idx="73">
                  <c:v>1206.4484160037734</c:v>
                </c:pt>
                <c:pt idx="74">
                  <c:v>1229.2930578154931</c:v>
                </c:pt>
                <c:pt idx="75">
                  <c:v>1252.2407551078259</c:v>
                </c:pt>
                <c:pt idx="76">
                  <c:v>1275.2645974073539</c:v>
                </c:pt>
                <c:pt idx="77">
                  <c:v>1298.3374618604055</c:v>
                </c:pt>
                <c:pt idx="78">
                  <c:v>1321.4321546735146</c:v>
                </c:pt>
                <c:pt idx="79">
                  <c:v>1344.521541880544</c:v>
                </c:pt>
                <c:pt idx="80">
                  <c:v>1367.5786880484827</c:v>
                </c:pt>
                <c:pt idx="81">
                  <c:v>1390.5769937481491</c:v>
                </c:pt>
                <c:pt idx="82">
                  <c:v>1413.4903295532545</c:v>
                </c:pt>
                <c:pt idx="83">
                  <c:v>1436.2931679682968</c:v>
                </c:pt>
                <c:pt idx="84">
                  <c:v>1458.9607088948283</c:v>
                </c:pt>
                <c:pt idx="85">
                  <c:v>1481.4689979909137</c:v>
                </c:pt>
                <c:pt idx="86">
                  <c:v>1503.795038655858</c:v>
                </c:pt>
                <c:pt idx="87">
                  <c:v>1525.9168899502015</c:v>
                </c:pt>
                <c:pt idx="88">
                  <c:v>1547.8137557335772</c:v>
                </c:pt>
                <c:pt idx="89">
                  <c:v>1569.4660623609066</c:v>
                </c:pt>
                <c:pt idx="90">
                  <c:v>1590.8555248701864</c:v>
                </c:pt>
                <c:pt idx="91">
                  <c:v>1611.965200949747</c:v>
                </c:pt>
                <c:pt idx="92">
                  <c:v>1632.7795325452455</c:v>
                </c:pt>
                <c:pt idx="93">
                  <c:v>1653.28437572126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29.54769227643135</c:v>
                </c:pt>
                <c:pt idx="32">
                  <c:v>540.64002670541561</c:v>
                </c:pt>
                <c:pt idx="33">
                  <c:v>551.28965929783965</c:v>
                </c:pt>
                <c:pt idx="34">
                  <c:v>561.80737144841521</c:v>
                </c:pt>
                <c:pt idx="35">
                  <c:v>572.41784850021747</c:v>
                </c:pt>
                <c:pt idx="36">
                  <c:v>583.26894118265602</c:v>
                </c:pt>
                <c:pt idx="37">
                  <c:v>594.45192656804875</c:v>
                </c:pt>
                <c:pt idx="38">
                  <c:v>606.03627765613248</c:v>
                </c:pt>
                <c:pt idx="39">
                  <c:v>618.08157169044432</c:v>
                </c:pt>
                <c:pt idx="40">
                  <c:v>630.64178166886018</c:v>
                </c:pt>
                <c:pt idx="41">
                  <c:v>643.7663312128708</c:v>
                </c:pt>
                <c:pt idx="42">
                  <c:v>657.49969592730167</c:v>
                </c:pt>
                <c:pt idx="43">
                  <c:v>671.87861745680277</c:v>
                </c:pt>
                <c:pt idx="44">
                  <c:v>686.9353728237279</c:v>
                </c:pt>
                <c:pt idx="45">
                  <c:v>702.69820747372944</c:v>
                </c:pt>
                <c:pt idx="46">
                  <c:v>719.19143711880304</c:v>
                </c:pt>
                <c:pt idx="47">
                  <c:v>736.43661109763559</c:v>
                </c:pt>
                <c:pt idx="48">
                  <c:v>754.45263952894015</c:v>
                </c:pt>
                <c:pt idx="49">
                  <c:v>773.25583273463963</c:v>
                </c:pt>
                <c:pt idx="50">
                  <c:v>792.86075542919696</c:v>
                </c:pt>
                <c:pt idx="51">
                  <c:v>813.27881730710158</c:v>
                </c:pt>
                <c:pt idx="52">
                  <c:v>834.51886328031799</c:v>
                </c:pt>
                <c:pt idx="53">
                  <c:v>856.58711290084045</c:v>
                </c:pt>
                <c:pt idx="54">
                  <c:v>879.48722024115318</c:v>
                </c:pt>
                <c:pt idx="55">
                  <c:v>903.22021963970951</c:v>
                </c:pt>
                <c:pt idx="56">
                  <c:v>927.78438245098073</c:v>
                </c:pt>
                <c:pt idx="57">
                  <c:v>953.17516899275836</c:v>
                </c:pt>
                <c:pt idx="58">
                  <c:v>979.38470022294257</c:v>
                </c:pt>
                <c:pt idx="59">
                  <c:v>1006.4017479964001</c:v>
                </c:pt>
                <c:pt idx="60">
                  <c:v>1034.2120874285504</c:v>
                </c:pt>
                <c:pt idx="61">
                  <c:v>1062.7980332739637</c:v>
                </c:pt>
                <c:pt idx="62">
                  <c:v>1092.1381247667987</c:v>
                </c:pt>
                <c:pt idx="63">
                  <c:v>1122.2075464515153</c:v>
                </c:pt>
                <c:pt idx="64">
                  <c:v>1152.9779677992203</c:v>
                </c:pt>
                <c:pt idx="65">
                  <c:v>1184.4172628087997</c:v>
                </c:pt>
                <c:pt idx="66">
                  <c:v>1216.4897176370623</c:v>
                </c:pt>
                <c:pt idx="67">
                  <c:v>1249.1561950286336</c:v>
                </c:pt>
                <c:pt idx="68">
                  <c:v>1282.3743003696995</c:v>
                </c:pt>
                <c:pt idx="69">
                  <c:v>1316.0985685225712</c:v>
                </c:pt>
                <c:pt idx="70">
                  <c:v>1350.282382067209</c:v>
                </c:pt>
                <c:pt idx="71">
                  <c:v>1384.8778129309876</c:v>
                </c:pt>
                <c:pt idx="72">
                  <c:v>1419.8354380079816</c:v>
                </c:pt>
                <c:pt idx="73">
                  <c:v>1455.1043956161329</c:v>
                </c:pt>
                <c:pt idx="74">
                  <c:v>1490.6325728739212</c:v>
                </c:pt>
                <c:pt idx="75">
                  <c:v>1526.3668610929369</c:v>
                </c:pt>
                <c:pt idx="76">
                  <c:v>1562.2534393263422</c:v>
                </c:pt>
                <c:pt idx="77">
                  <c:v>1598.2380618667955</c:v>
                </c:pt>
                <c:pt idx="78">
                  <c:v>1634.2663411273629</c:v>
                </c:pt>
                <c:pt idx="79">
                  <c:v>1670.2840091757698</c:v>
                </c:pt>
                <c:pt idx="80">
                  <c:v>1706.2371951459963</c:v>
                </c:pt>
                <c:pt idx="81">
                  <c:v>1742.0727001796783</c:v>
                </c:pt>
                <c:pt idx="82">
                  <c:v>1777.7382654242383</c:v>
                </c:pt>
                <c:pt idx="83">
                  <c:v>1813.1828358886721</c:v>
                </c:pt>
                <c:pt idx="84">
                  <c:v>1848.3568113760862</c:v>
                </c:pt>
                <c:pt idx="85">
                  <c:v>1883.2122832026043</c:v>
                </c:pt>
                <c:pt idx="86">
                  <c:v>1917.7032581668443</c:v>
                </c:pt>
                <c:pt idx="87">
                  <c:v>1951.7858543898794</c:v>
                </c:pt>
                <c:pt idx="88">
                  <c:v>1985.4184795909789</c:v>
                </c:pt>
                <c:pt idx="89">
                  <c:v>2018.5619864799869</c:v>
                </c:pt>
                <c:pt idx="90">
                  <c:v>2051.1798051328956</c:v>
                </c:pt>
                <c:pt idx="91">
                  <c:v>2083.2380509263658</c:v>
                </c:pt>
                <c:pt idx="92">
                  <c:v>2114.7056077517123</c:v>
                </c:pt>
                <c:pt idx="93">
                  <c:v>2145.55418773810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30</c:v>
                </c:pt>
                <c:pt idx="1">
                  <c:v>54</c:v>
                </c:pt>
                <c:pt idx="2">
                  <c:v>80</c:v>
                </c:pt>
                <c:pt idx="3">
                  <c:v>92</c:v>
                </c:pt>
                <c:pt idx="4">
                  <c:v>116</c:v>
                </c:pt>
                <c:pt idx="5">
                  <c:v>141</c:v>
                </c:pt>
                <c:pt idx="6">
                  <c:v>169</c:v>
                </c:pt>
                <c:pt idx="7">
                  <c:v>191</c:v>
                </c:pt>
                <c:pt idx="8">
                  <c:v>221</c:v>
                </c:pt>
                <c:pt idx="9">
                  <c:v>238</c:v>
                </c:pt>
                <c:pt idx="10">
                  <c:v>252</c:v>
                </c:pt>
                <c:pt idx="11">
                  <c:v>262</c:v>
                </c:pt>
                <c:pt idx="12">
                  <c:v>290</c:v>
                </c:pt>
                <c:pt idx="13">
                  <c:v>307</c:v>
                </c:pt>
                <c:pt idx="14">
                  <c:v>330</c:v>
                </c:pt>
                <c:pt idx="15">
                  <c:v>352</c:v>
                </c:pt>
                <c:pt idx="16">
                  <c:v>368</c:v>
                </c:pt>
                <c:pt idx="17">
                  <c:v>375</c:v>
                </c:pt>
                <c:pt idx="18">
                  <c:v>395</c:v>
                </c:pt>
                <c:pt idx="19">
                  <c:v>421</c:v>
                </c:pt>
                <c:pt idx="20">
                  <c:v>442</c:v>
                </c:pt>
                <c:pt idx="21">
                  <c:v>454</c:v>
                </c:pt>
                <c:pt idx="22">
                  <c:v>461</c:v>
                </c:pt>
                <c:pt idx="23">
                  <c:v>467</c:v>
                </c:pt>
                <c:pt idx="24">
                  <c:v>472</c:v>
                </c:pt>
                <c:pt idx="25">
                  <c:v>487</c:v>
                </c:pt>
                <c:pt idx="26">
                  <c:v>504</c:v>
                </c:pt>
                <c:pt idx="27">
                  <c:v>522</c:v>
                </c:pt>
                <c:pt idx="28">
                  <c:v>529</c:v>
                </c:pt>
                <c:pt idx="29">
                  <c:v>546</c:v>
                </c:pt>
                <c:pt idx="30">
                  <c:v>553</c:v>
                </c:pt>
                <c:pt idx="31">
                  <c:v>561</c:v>
                </c:pt>
                <c:pt idx="32">
                  <c:v>572</c:v>
                </c:pt>
                <c:pt idx="33">
                  <c:v>588</c:v>
                </c:pt>
                <c:pt idx="34">
                  <c:v>604</c:v>
                </c:pt>
                <c:pt idx="35">
                  <c:v>618</c:v>
                </c:pt>
                <c:pt idx="36">
                  <c:v>628</c:v>
                </c:pt>
                <c:pt idx="37">
                  <c:v>644</c:v>
                </c:pt>
                <c:pt idx="38">
                  <c:v>655</c:v>
                </c:pt>
                <c:pt idx="39">
                  <c:v>668</c:v>
                </c:pt>
                <c:pt idx="40">
                  <c:v>674</c:v>
                </c:pt>
                <c:pt idx="41">
                  <c:v>688</c:v>
                </c:pt>
                <c:pt idx="42">
                  <c:v>694</c:v>
                </c:pt>
                <c:pt idx="43">
                  <c:v>703</c:v>
                </c:pt>
                <c:pt idx="44">
                  <c:v>709</c:v>
                </c:pt>
                <c:pt idx="45">
                  <c:v>718</c:v>
                </c:pt>
                <c:pt idx="46">
                  <c:v>725</c:v>
                </c:pt>
                <c:pt idx="47">
                  <c:v>736</c:v>
                </c:pt>
                <c:pt idx="48">
                  <c:v>743</c:v>
                </c:pt>
                <c:pt idx="49">
                  <c:v>753</c:v>
                </c:pt>
                <c:pt idx="50">
                  <c:v>763</c:v>
                </c:pt>
                <c:pt idx="51">
                  <c:v>771</c:v>
                </c:pt>
                <c:pt idx="52">
                  <c:v>776</c:v>
                </c:pt>
                <c:pt idx="53">
                  <c:v>790</c:v>
                </c:pt>
                <c:pt idx="54">
                  <c:v>805</c:v>
                </c:pt>
                <c:pt idx="55">
                  <c:v>819</c:v>
                </c:pt>
                <c:pt idx="56">
                  <c:v>843</c:v>
                </c:pt>
                <c:pt idx="57">
                  <c:v>869</c:v>
                </c:pt>
                <c:pt idx="58">
                  <c:v>895</c:v>
                </c:pt>
                <c:pt idx="59">
                  <c:v>911</c:v>
                </c:pt>
                <c:pt idx="60">
                  <c:v>929</c:v>
                </c:pt>
                <c:pt idx="61">
                  <c:v>960</c:v>
                </c:pt>
                <c:pt idx="62">
                  <c:v>979</c:v>
                </c:pt>
                <c:pt idx="63">
                  <c:v>1019</c:v>
                </c:pt>
                <c:pt idx="64">
                  <c:v>1046</c:v>
                </c:pt>
                <c:pt idx="65">
                  <c:v>1067</c:v>
                </c:pt>
                <c:pt idx="66">
                  <c:v>1077</c:v>
                </c:pt>
                <c:pt idx="67">
                  <c:v>1094</c:v>
                </c:pt>
                <c:pt idx="68">
                  <c:v>1138</c:v>
                </c:pt>
                <c:pt idx="69">
                  <c:v>1168</c:v>
                </c:pt>
                <c:pt idx="70">
                  <c:v>1225</c:v>
                </c:pt>
                <c:pt idx="71">
                  <c:v>1255</c:v>
                </c:pt>
                <c:pt idx="72">
                  <c:v>1291</c:v>
                </c:pt>
                <c:pt idx="73">
                  <c:v>1303</c:v>
                </c:pt>
                <c:pt idx="74">
                  <c:v>1323</c:v>
                </c:pt>
                <c:pt idx="75">
                  <c:v>1348</c:v>
                </c:pt>
                <c:pt idx="76">
                  <c:v>1383</c:v>
                </c:pt>
                <c:pt idx="77">
                  <c:v>1423</c:v>
                </c:pt>
                <c:pt idx="78">
                  <c:v>1446</c:v>
                </c:pt>
                <c:pt idx="79">
                  <c:v>1475</c:v>
                </c:pt>
                <c:pt idx="80">
                  <c:v>1487</c:v>
                </c:pt>
                <c:pt idx="81">
                  <c:v>1506</c:v>
                </c:pt>
                <c:pt idx="82">
                  <c:v>1540</c:v>
                </c:pt>
                <c:pt idx="83">
                  <c:v>1562</c:v>
                </c:pt>
                <c:pt idx="84">
                  <c:v>1585</c:v>
                </c:pt>
                <c:pt idx="85">
                  <c:v>1610</c:v>
                </c:pt>
                <c:pt idx="86">
                  <c:v>1626</c:v>
                </c:pt>
                <c:pt idx="87">
                  <c:v>1639</c:v>
                </c:pt>
                <c:pt idx="88">
                  <c:v>1653</c:v>
                </c:pt>
                <c:pt idx="89">
                  <c:v>1678</c:v>
                </c:pt>
                <c:pt idx="90">
                  <c:v>1693</c:v>
                </c:pt>
                <c:pt idx="91">
                  <c:v>1706</c:v>
                </c:pt>
                <c:pt idx="92">
                  <c:v>1725</c:v>
                </c:pt>
                <c:pt idx="93">
                  <c:v>17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60.02730888855149</c:v>
                </c:pt>
                <c:pt idx="32">
                  <c:v>571.5803473034041</c:v>
                </c:pt>
                <c:pt idx="33">
                  <c:v>582.67229690445924</c:v>
                </c:pt>
                <c:pt idx="34">
                  <c:v>593.31638316522276</c:v>
                </c:pt>
                <c:pt idx="35">
                  <c:v>603.52583131163999</c:v>
                </c:pt>
                <c:pt idx="36">
                  <c:v>613.32486699767935</c:v>
                </c:pt>
                <c:pt idx="37">
                  <c:v>622.72572001272556</c:v>
                </c:pt>
                <c:pt idx="38">
                  <c:v>631.74056979307159</c:v>
                </c:pt>
                <c:pt idx="39">
                  <c:v>640.38151672531444</c:v>
                </c:pt>
                <c:pt idx="40">
                  <c:v>648.66055644849348</c:v>
                </c:pt>
                <c:pt idx="41">
                  <c:v>656.6805986090468</c:v>
                </c:pt>
                <c:pt idx="42">
                  <c:v>664.51833957773295</c:v>
                </c:pt>
                <c:pt idx="43">
                  <c:v>672.22072787977061</c:v>
                </c:pt>
                <c:pt idx="44">
                  <c:v>679.81787273760301</c:v>
                </c:pt>
                <c:pt idx="45">
                  <c:v>687.33062473363566</c:v>
                </c:pt>
                <c:pt idx="46">
                  <c:v>694.77487024676259</c:v>
                </c:pt>
                <c:pt idx="47">
                  <c:v>702.1633920027075</c:v>
                </c:pt>
                <c:pt idx="48">
                  <c:v>709.50652340601448</c:v>
                </c:pt>
                <c:pt idx="49">
                  <c:v>716.81225842222557</c:v>
                </c:pt>
                <c:pt idx="50">
                  <c:v>724.08555810923031</c:v>
                </c:pt>
                <c:pt idx="51">
                  <c:v>731.32954196785408</c:v>
                </c:pt>
                <c:pt idx="52">
                  <c:v>738.54581233261763</c:v>
                </c:pt>
                <c:pt idx="53">
                  <c:v>745.73465241150291</c:v>
                </c:pt>
                <c:pt idx="54">
                  <c:v>752.89552742109265</c:v>
                </c:pt>
                <c:pt idx="55">
                  <c:v>760.02725321901494</c:v>
                </c:pt>
                <c:pt idx="56">
                  <c:v>767.12813835824579</c:v>
                </c:pt>
                <c:pt idx="57">
                  <c:v>774.19635410537705</c:v>
                </c:pt>
                <c:pt idx="58">
                  <c:v>781.22959730533194</c:v>
                </c:pt>
                <c:pt idx="59">
                  <c:v>788.22536394016822</c:v>
                </c:pt>
                <c:pt idx="60">
                  <c:v>795.18102058127226</c:v>
                </c:pt>
                <c:pt idx="61">
                  <c:v>802.09390624009359</c:v>
                </c:pt>
                <c:pt idx="62">
                  <c:v>808.96138952505726</c:v>
                </c:pt>
                <c:pt idx="63">
                  <c:v>815.78089523020685</c:v>
                </c:pt>
                <c:pt idx="64">
                  <c:v>822.54995755412961</c:v>
                </c:pt>
                <c:pt idx="65">
                  <c:v>829.26610555872674</c:v>
                </c:pt>
                <c:pt idx="66">
                  <c:v>835.9269075703877</c:v>
                </c:pt>
                <c:pt idx="67">
                  <c:v>842.53012260630396</c:v>
                </c:pt>
                <c:pt idx="68">
                  <c:v>849.07358837837842</c:v>
                </c:pt>
                <c:pt idx="69">
                  <c:v>855.55514824901809</c:v>
                </c:pt>
                <c:pt idx="70">
                  <c:v>861.97305430173469</c:v>
                </c:pt>
                <c:pt idx="71">
                  <c:v>868.32586147062136</c:v>
                </c:pt>
                <c:pt idx="72">
                  <c:v>874.61224849760049</c:v>
                </c:pt>
                <c:pt idx="73">
                  <c:v>880.83102107418279</c:v>
                </c:pt>
                <c:pt idx="74">
                  <c:v>886.98111239317393</c:v>
                </c:pt>
                <c:pt idx="75">
                  <c:v>893.06158239510501</c:v>
                </c:pt>
                <c:pt idx="76">
                  <c:v>899.07161533429689</c:v>
                </c:pt>
                <c:pt idx="77">
                  <c:v>905.01051434920771</c:v>
                </c:pt>
                <c:pt idx="78">
                  <c:v>910.87769353007673</c:v>
                </c:pt>
                <c:pt idx="79">
                  <c:v>916.67266591183807</c:v>
                </c:pt>
                <c:pt idx="80">
                  <c:v>922.39503454767305</c:v>
                </c:pt>
                <c:pt idx="81">
                  <c:v>928.04448434413541</c:v>
                </c:pt>
                <c:pt idx="82">
                  <c:v>933.62077449008052</c:v>
                </c:pt>
                <c:pt idx="83">
                  <c:v>939.12373234201846</c:v>
                </c:pt>
                <c:pt idx="84">
                  <c:v>944.5532477702078</c:v>
                </c:pt>
                <c:pt idx="85">
                  <c:v>949.90926829634623</c:v>
                </c:pt>
                <c:pt idx="86">
                  <c:v>955.19179548921306</c:v>
                </c:pt>
                <c:pt idx="87">
                  <c:v>960.4008804410214</c:v>
                </c:pt>
                <c:pt idx="88">
                  <c:v>965.53662032097213</c:v>
                </c:pt>
                <c:pt idx="89">
                  <c:v>970.59915529452053</c:v>
                </c:pt>
                <c:pt idx="90">
                  <c:v>975.58866590353807</c:v>
                </c:pt>
                <c:pt idx="91">
                  <c:v>980.50537070486257</c:v>
                </c:pt>
                <c:pt idx="92">
                  <c:v>985.34952414669795</c:v>
                </c:pt>
                <c:pt idx="93">
                  <c:v>990.121414856399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60.02730888855149</c:v>
                </c:pt>
                <c:pt idx="32">
                  <c:v>571.5803473034041</c:v>
                </c:pt>
                <c:pt idx="33">
                  <c:v>582.67229690445924</c:v>
                </c:pt>
                <c:pt idx="34">
                  <c:v>593.47161505255292</c:v>
                </c:pt>
                <c:pt idx="35">
                  <c:v>604.28876552234533</c:v>
                </c:pt>
                <c:pt idx="36">
                  <c:v>615.23122061767742</c:v>
                </c:pt>
                <c:pt idx="37">
                  <c:v>626.34651440496089</c:v>
                </c:pt>
                <c:pt idx="38">
                  <c:v>637.67082611409535</c:v>
                </c:pt>
                <c:pt idx="39">
                  <c:v>649.23518159394814</c:v>
                </c:pt>
                <c:pt idx="40">
                  <c:v>661.06768818846206</c:v>
                </c:pt>
                <c:pt idx="41">
                  <c:v>673.19408407751894</c:v>
                </c:pt>
                <c:pt idx="42">
                  <c:v>685.63753067832829</c:v>
                </c:pt>
                <c:pt idx="43">
                  <c:v>698.41716181861511</c:v>
                </c:pt>
                <c:pt idx="44">
                  <c:v>711.54978629915729</c:v>
                </c:pt>
                <c:pt idx="45">
                  <c:v>725.05011340954434</c:v>
                </c:pt>
                <c:pt idx="46">
                  <c:v>738.9308059646512</c:v>
                </c:pt>
                <c:pt idx="47">
                  <c:v>753.20308614404667</c:v>
                </c:pt>
                <c:pt idx="48">
                  <c:v>767.87680170923431</c:v>
                </c:pt>
                <c:pt idx="49">
                  <c:v>782.96044653393005</c:v>
                </c:pt>
                <c:pt idx="50">
                  <c:v>798.46160543748897</c:v>
                </c:pt>
                <c:pt idx="51">
                  <c:v>814.38622020969251</c:v>
                </c:pt>
                <c:pt idx="52">
                  <c:v>830.73889698680284</c:v>
                </c:pt>
                <c:pt idx="53">
                  <c:v>847.52287470484146</c:v>
                </c:pt>
                <c:pt idx="54">
                  <c:v>864.74005628334703</c:v>
                </c:pt>
                <c:pt idx="55">
                  <c:v>882.39098037141605</c:v>
                </c:pt>
                <c:pt idx="56">
                  <c:v>900.47474674789623</c:v>
                </c:pt>
                <c:pt idx="57">
                  <c:v>918.98899129713266</c:v>
                </c:pt>
                <c:pt idx="58">
                  <c:v>937.92961087579386</c:v>
                </c:pt>
                <c:pt idx="59">
                  <c:v>957.29075823897176</c:v>
                </c:pt>
                <c:pt idx="60">
                  <c:v>977.06502553942403</c:v>
                </c:pt>
                <c:pt idx="61">
                  <c:v>997.24320288895581</c:v>
                </c:pt>
                <c:pt idx="62">
                  <c:v>1017.8141142337903</c:v>
                </c:pt>
                <c:pt idx="63">
                  <c:v>1038.7648365092218</c:v>
                </c:pt>
                <c:pt idx="64">
                  <c:v>1060.0806161171349</c:v>
                </c:pt>
                <c:pt idx="65">
                  <c:v>1081.7447229035972</c:v>
                </c:pt>
                <c:pt idx="66">
                  <c:v>1103.7385582857305</c:v>
                </c:pt>
                <c:pt idx="67">
                  <c:v>1126.0417408813446</c:v>
                </c:pt>
                <c:pt idx="68">
                  <c:v>1148.632192984204</c:v>
                </c:pt>
                <c:pt idx="69">
                  <c:v>1171.4862378612615</c:v>
                </c:pt>
                <c:pt idx="70">
                  <c:v>1194.5795987091115</c:v>
                </c:pt>
                <c:pt idx="71">
                  <c:v>1217.8873161800291</c:v>
                </c:pt>
                <c:pt idx="72">
                  <c:v>1241.3836523626205</c:v>
                </c:pt>
                <c:pt idx="73">
                  <c:v>1265.042120182844</c:v>
                </c:pt>
                <c:pt idx="74">
                  <c:v>1288.8355809835487</c:v>
                </c:pt>
                <c:pt idx="75">
                  <c:v>1312.7363775244448</c:v>
                </c:pt>
                <c:pt idx="76">
                  <c:v>1336.71648164472</c:v>
                </c:pt>
                <c:pt idx="77">
                  <c:v>1360.7476439824031</c:v>
                </c:pt>
                <c:pt idx="78">
                  <c:v>1384.8015412893474</c:v>
                </c:pt>
                <c:pt idx="79">
                  <c:v>1408.849912629576</c:v>
                </c:pt>
                <c:pt idx="80">
                  <c:v>1432.8647038460233</c:v>
                </c:pt>
                <c:pt idx="81">
                  <c:v>1456.8182107408836</c:v>
                </c:pt>
                <c:pt idx="82">
                  <c:v>1480.6832186401307</c:v>
                </c:pt>
                <c:pt idx="83">
                  <c:v>1504.4331398008458</c:v>
                </c:pt>
                <c:pt idx="84">
                  <c:v>1528.042144088543</c:v>
                </c:pt>
                <c:pt idx="85">
                  <c:v>1551.485282252517</c:v>
                </c:pt>
                <c:pt idx="86">
                  <c:v>1574.7386025616922</c:v>
                </c:pt>
                <c:pt idx="87">
                  <c:v>1597.7792527915835</c:v>
                </c:pt>
                <c:pt idx="88">
                  <c:v>1620.5855730643646</c:v>
                </c:pt>
                <c:pt idx="89">
                  <c:v>1643.1371767720623</c:v>
                </c:pt>
                <c:pt idx="90">
                  <c:v>1665.4150195133568</c:v>
                </c:pt>
                <c:pt idx="91">
                  <c:v>1687.4014553022921</c:v>
                </c:pt>
                <c:pt idx="92">
                  <c:v>1709.0802799033545</c:v>
                </c:pt>
                <c:pt idx="93">
                  <c:v>1730.4367619333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60.02730888855149</c:v>
                </c:pt>
                <c:pt idx="32">
                  <c:v>571.5803473034041</c:v>
                </c:pt>
                <c:pt idx="33">
                  <c:v>582.67229690445924</c:v>
                </c:pt>
                <c:pt idx="34">
                  <c:v>593.62684693988297</c:v>
                </c:pt>
                <c:pt idx="35">
                  <c:v>604.67801473185591</c:v>
                </c:pt>
                <c:pt idx="36">
                  <c:v>615.97979177490697</c:v>
                </c:pt>
                <c:pt idx="37">
                  <c:v>627.62724620186555</c:v>
                </c:pt>
                <c:pt idx="38">
                  <c:v>639.69273647252146</c:v>
                </c:pt>
                <c:pt idx="39">
                  <c:v>652.23831428461619</c:v>
                </c:pt>
                <c:pt idx="40">
                  <c:v>665.32019432603329</c:v>
                </c:pt>
                <c:pt idx="41">
                  <c:v>678.98985295653631</c:v>
                </c:pt>
                <c:pt idx="42">
                  <c:v>693.29361301054416</c:v>
                </c:pt>
                <c:pt idx="43">
                  <c:v>708.26974214350696</c:v>
                </c:pt>
                <c:pt idx="44">
                  <c:v>723.95185795698171</c:v>
                </c:pt>
                <c:pt idx="45">
                  <c:v>740.36937903014621</c:v>
                </c:pt>
                <c:pt idx="46">
                  <c:v>757.5476309927468</c:v>
                </c:pt>
                <c:pt idx="47">
                  <c:v>775.509058203927</c:v>
                </c:pt>
                <c:pt idx="48">
                  <c:v>794.27335618669144</c:v>
                </c:pt>
                <c:pt idx="49">
                  <c:v>813.85751268847434</c:v>
                </c:pt>
                <c:pt idx="50">
                  <c:v>834.27669734798133</c:v>
                </c:pt>
                <c:pt idx="51">
                  <c:v>855.54279374477665</c:v>
                </c:pt>
                <c:pt idx="52">
                  <c:v>877.66501415138544</c:v>
                </c:pt>
                <c:pt idx="53">
                  <c:v>900.64983643985295</c:v>
                </c:pt>
                <c:pt idx="54">
                  <c:v>924.50106644925211</c:v>
                </c:pt>
                <c:pt idx="55">
                  <c:v>949.21978147778043</c:v>
                </c:pt>
                <c:pt idx="56">
                  <c:v>974.80418108312995</c:v>
                </c:pt>
                <c:pt idx="57">
                  <c:v>1001.2495370339909</c:v>
                </c:pt>
                <c:pt idx="58">
                  <c:v>1028.5476430437036</c:v>
                </c:pt>
                <c:pt idx="59">
                  <c:v>1056.6868046224486</c:v>
                </c:pt>
                <c:pt idx="60">
                  <c:v>1085.6522060757425</c:v>
                </c:pt>
                <c:pt idx="61">
                  <c:v>1115.4254276271954</c:v>
                </c:pt>
                <c:pt idx="62">
                  <c:v>1145.9841171692535</c:v>
                </c:pt>
                <c:pt idx="63">
                  <c:v>1177.3024285725048</c:v>
                </c:pt>
                <c:pt idx="64">
                  <c:v>1209.3508546407215</c:v>
                </c:pt>
                <c:pt idx="65">
                  <c:v>1242.0959350660344</c:v>
                </c:pt>
                <c:pt idx="66">
                  <c:v>1275.5004726826912</c:v>
                </c:pt>
                <c:pt idx="67">
                  <c:v>1309.5237047263086</c:v>
                </c:pt>
                <c:pt idx="68">
                  <c:v>1344.1214757844155</c:v>
                </c:pt>
                <c:pt idx="69">
                  <c:v>1379.2464323909207</c:v>
                </c:pt>
                <c:pt idx="70">
                  <c:v>1414.8500209390099</c:v>
                </c:pt>
                <c:pt idx="71">
                  <c:v>1450.882322733233</c:v>
                </c:pt>
                <c:pt idx="72">
                  <c:v>1487.291861950805</c:v>
                </c:pt>
                <c:pt idx="73">
                  <c:v>1524.0256644436399</c:v>
                </c:pt>
                <c:pt idx="74">
                  <c:v>1561.0294528974384</c:v>
                </c:pt>
                <c:pt idx="75">
                  <c:v>1598.2479128316209</c:v>
                </c:pt>
                <c:pt idx="76">
                  <c:v>1635.6249879245606</c:v>
                </c:pt>
                <c:pt idx="77">
                  <c:v>1673.1041794523171</c:v>
                </c:pt>
                <c:pt idx="78">
                  <c:v>1710.628840918595</c:v>
                </c:pt>
                <c:pt idx="79">
                  <c:v>1748.1424504514405</c:v>
                </c:pt>
                <c:pt idx="80">
                  <c:v>1785.5888997367244</c:v>
                </c:pt>
                <c:pt idx="81">
                  <c:v>1822.9127803788342</c:v>
                </c:pt>
                <c:pt idx="82">
                  <c:v>1860.0596630297177</c:v>
                </c:pt>
                <c:pt idx="83">
                  <c:v>1896.9763722035368</c:v>
                </c:pt>
                <c:pt idx="84">
                  <c:v>1933.6112476313228</c:v>
                </c:pt>
                <c:pt idx="85">
                  <c:v>1969.914390811658</c:v>
                </c:pt>
                <c:pt idx="86">
                  <c:v>2005.8378982823999</c:v>
                </c:pt>
                <c:pt idx="87">
                  <c:v>2041.3360655945708</c:v>
                </c:pt>
                <c:pt idx="88">
                  <c:v>2076.3655729925213</c:v>
                </c:pt>
                <c:pt idx="89">
                  <c:v>2110.8856472603061</c:v>
                </c:pt>
                <c:pt idx="90">
                  <c:v>2144.8581995952845</c:v>
                </c:pt>
                <c:pt idx="91">
                  <c:v>2178.2479380255445</c:v>
                </c:pt>
                <c:pt idx="92">
                  <c:v>2211.0224540800587</c:v>
                </c:pt>
                <c:pt idx="93">
                  <c:v>2243.15228499240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27</c:v>
                </c:pt>
                <c:pt idx="1">
                  <c:v>67</c:v>
                </c:pt>
                <c:pt idx="2">
                  <c:v>91</c:v>
                </c:pt>
                <c:pt idx="3">
                  <c:v>117</c:v>
                </c:pt>
                <c:pt idx="4">
                  <c:v>138</c:v>
                </c:pt>
                <c:pt idx="5">
                  <c:v>181</c:v>
                </c:pt>
                <c:pt idx="6">
                  <c:v>219</c:v>
                </c:pt>
                <c:pt idx="7">
                  <c:v>246</c:v>
                </c:pt>
                <c:pt idx="8">
                  <c:v>274</c:v>
                </c:pt>
                <c:pt idx="9">
                  <c:v>317</c:v>
                </c:pt>
                <c:pt idx="10">
                  <c:v>336</c:v>
                </c:pt>
                <c:pt idx="11">
                  <c:v>349</c:v>
                </c:pt>
                <c:pt idx="12">
                  <c:v>386</c:v>
                </c:pt>
                <c:pt idx="13">
                  <c:v>409</c:v>
                </c:pt>
                <c:pt idx="14">
                  <c:v>425</c:v>
                </c:pt>
                <c:pt idx="15">
                  <c:v>449</c:v>
                </c:pt>
                <c:pt idx="16">
                  <c:v>472</c:v>
                </c:pt>
                <c:pt idx="17">
                  <c:v>482</c:v>
                </c:pt>
                <c:pt idx="18">
                  <c:v>491</c:v>
                </c:pt>
                <c:pt idx="19">
                  <c:v>514</c:v>
                </c:pt>
                <c:pt idx="20">
                  <c:v>538</c:v>
                </c:pt>
                <c:pt idx="21">
                  <c:v>562</c:v>
                </c:pt>
                <c:pt idx="22">
                  <c:v>581</c:v>
                </c:pt>
                <c:pt idx="23">
                  <c:v>588</c:v>
                </c:pt>
                <c:pt idx="24">
                  <c:v>601</c:v>
                </c:pt>
                <c:pt idx="25">
                  <c:v>616</c:v>
                </c:pt>
                <c:pt idx="26">
                  <c:v>630</c:v>
                </c:pt>
                <c:pt idx="27">
                  <c:v>642</c:v>
                </c:pt>
                <c:pt idx="28">
                  <c:v>660</c:v>
                </c:pt>
                <c:pt idx="29">
                  <c:v>669</c:v>
                </c:pt>
                <c:pt idx="30">
                  <c:v>682</c:v>
                </c:pt>
                <c:pt idx="31">
                  <c:v>690</c:v>
                </c:pt>
                <c:pt idx="32">
                  <c:v>694</c:v>
                </c:pt>
                <c:pt idx="33">
                  <c:v>712</c:v>
                </c:pt>
                <c:pt idx="34">
                  <c:v>722</c:v>
                </c:pt>
                <c:pt idx="35">
                  <c:v>736</c:v>
                </c:pt>
                <c:pt idx="36">
                  <c:v>744</c:v>
                </c:pt>
                <c:pt idx="37">
                  <c:v>747</c:v>
                </c:pt>
                <c:pt idx="38">
                  <c:v>757</c:v>
                </c:pt>
                <c:pt idx="39">
                  <c:v>762</c:v>
                </c:pt>
                <c:pt idx="40">
                  <c:v>776</c:v>
                </c:pt>
                <c:pt idx="41">
                  <c:v>784</c:v>
                </c:pt>
                <c:pt idx="42">
                  <c:v>786</c:v>
                </c:pt>
                <c:pt idx="43">
                  <c:v>795</c:v>
                </c:pt>
                <c:pt idx="44">
                  <c:v>801</c:v>
                </c:pt>
                <c:pt idx="45">
                  <c:v>804</c:v>
                </c:pt>
                <c:pt idx="46">
                  <c:v>808</c:v>
                </c:pt>
                <c:pt idx="47">
                  <c:v>818</c:v>
                </c:pt>
                <c:pt idx="48">
                  <c:v>823</c:v>
                </c:pt>
                <c:pt idx="49">
                  <c:v>827</c:v>
                </c:pt>
                <c:pt idx="50">
                  <c:v>836</c:v>
                </c:pt>
                <c:pt idx="51">
                  <c:v>850</c:v>
                </c:pt>
                <c:pt idx="52">
                  <c:v>858</c:v>
                </c:pt>
                <c:pt idx="53">
                  <c:v>861</c:v>
                </c:pt>
                <c:pt idx="54">
                  <c:v>875</c:v>
                </c:pt>
                <c:pt idx="55">
                  <c:v>880</c:v>
                </c:pt>
                <c:pt idx="56">
                  <c:v>911</c:v>
                </c:pt>
                <c:pt idx="57">
                  <c:v>930</c:v>
                </c:pt>
                <c:pt idx="58">
                  <c:v>939</c:v>
                </c:pt>
                <c:pt idx="59">
                  <c:v>958</c:v>
                </c:pt>
                <c:pt idx="60">
                  <c:v>974</c:v>
                </c:pt>
                <c:pt idx="61">
                  <c:v>997</c:v>
                </c:pt>
                <c:pt idx="62">
                  <c:v>1032</c:v>
                </c:pt>
                <c:pt idx="63">
                  <c:v>1062</c:v>
                </c:pt>
                <c:pt idx="64">
                  <c:v>1093</c:v>
                </c:pt>
                <c:pt idx="65">
                  <c:v>1117</c:v>
                </c:pt>
                <c:pt idx="66">
                  <c:v>1138</c:v>
                </c:pt>
                <c:pt idx="67">
                  <c:v>1153</c:v>
                </c:pt>
                <c:pt idx="68">
                  <c:v>1188</c:v>
                </c:pt>
                <c:pt idx="69">
                  <c:v>1221</c:v>
                </c:pt>
                <c:pt idx="70">
                  <c:v>1250</c:v>
                </c:pt>
                <c:pt idx="71">
                  <c:v>1279</c:v>
                </c:pt>
                <c:pt idx="72">
                  <c:v>1318</c:v>
                </c:pt>
                <c:pt idx="73">
                  <c:v>1331</c:v>
                </c:pt>
                <c:pt idx="74">
                  <c:v>1348</c:v>
                </c:pt>
                <c:pt idx="75">
                  <c:v>1378</c:v>
                </c:pt>
                <c:pt idx="76">
                  <c:v>1409</c:v>
                </c:pt>
                <c:pt idx="77">
                  <c:v>1434</c:v>
                </c:pt>
                <c:pt idx="78">
                  <c:v>1463</c:v>
                </c:pt>
                <c:pt idx="79">
                  <c:v>1489</c:v>
                </c:pt>
                <c:pt idx="80">
                  <c:v>1504</c:v>
                </c:pt>
                <c:pt idx="81">
                  <c:v>1518</c:v>
                </c:pt>
                <c:pt idx="82">
                  <c:v>1552</c:v>
                </c:pt>
                <c:pt idx="83">
                  <c:v>1576</c:v>
                </c:pt>
                <c:pt idx="84">
                  <c:v>1596</c:v>
                </c:pt>
                <c:pt idx="85">
                  <c:v>1608</c:v>
                </c:pt>
                <c:pt idx="86">
                  <c:v>1622</c:v>
                </c:pt>
                <c:pt idx="87">
                  <c:v>1636</c:v>
                </c:pt>
                <c:pt idx="88">
                  <c:v>1643</c:v>
                </c:pt>
                <c:pt idx="89">
                  <c:v>1657</c:v>
                </c:pt>
                <c:pt idx="90">
                  <c:v>1671</c:v>
                </c:pt>
                <c:pt idx="91">
                  <c:v>1684</c:v>
                </c:pt>
                <c:pt idx="92">
                  <c:v>1698</c:v>
                </c:pt>
                <c:pt idx="93">
                  <c:v>17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691.72828701395781</c:v>
                </c:pt>
                <c:pt idx="32">
                  <c:v>703.954662023541</c:v>
                </c:pt>
                <c:pt idx="33">
                  <c:v>715.69307494490306</c:v>
                </c:pt>
                <c:pt idx="34">
                  <c:v>726.95752206135523</c:v>
                </c:pt>
                <c:pt idx="35">
                  <c:v>737.76199939422008</c:v>
                </c:pt>
                <c:pt idx="36">
                  <c:v>748.13214452208376</c:v>
                </c:pt>
                <c:pt idx="37">
                  <c:v>758.08090001346704</c:v>
                </c:pt>
                <c:pt idx="38">
                  <c:v>767.62115514910931</c:v>
                </c:pt>
                <c:pt idx="39">
                  <c:v>776.76571555286318</c:v>
                </c:pt>
                <c:pt idx="40">
                  <c:v>785.52727599610489</c:v>
                </c:pt>
                <c:pt idx="41">
                  <c:v>794.01474392675186</c:v>
                </c:pt>
                <c:pt idx="42">
                  <c:v>802.3092857494413</c:v>
                </c:pt>
                <c:pt idx="43">
                  <c:v>810.46058625313151</c:v>
                </c:pt>
                <c:pt idx="44">
                  <c:v>818.50050949224863</c:v>
                </c:pt>
                <c:pt idx="45">
                  <c:v>826.45112126719118</c:v>
                </c:pt>
                <c:pt idx="46">
                  <c:v>834.32923385010156</c:v>
                </c:pt>
                <c:pt idx="47">
                  <c:v>842.14837497219048</c:v>
                </c:pt>
                <c:pt idx="48">
                  <c:v>849.91948029164109</c:v>
                </c:pt>
                <c:pt idx="49">
                  <c:v>857.65100967996261</c:v>
                </c:pt>
                <c:pt idx="50">
                  <c:v>865.34821333645527</c:v>
                </c:pt>
                <c:pt idx="51">
                  <c:v>873.01439257334243</c:v>
                </c:pt>
                <c:pt idx="52">
                  <c:v>880.65124311273939</c:v>
                </c:pt>
                <c:pt idx="53">
                  <c:v>888.25906466861488</c:v>
                </c:pt>
                <c:pt idx="54">
                  <c:v>895.83729128919299</c:v>
                </c:pt>
                <c:pt idx="55">
                  <c:v>903.38466981766896</c:v>
                </c:pt>
                <c:pt idx="56">
                  <c:v>910.89941022575078</c:v>
                </c:pt>
                <c:pt idx="57">
                  <c:v>918.37957719740803</c:v>
                </c:pt>
                <c:pt idx="58">
                  <c:v>925.82273334459956</c:v>
                </c:pt>
                <c:pt idx="59">
                  <c:v>933.22622870968701</c:v>
                </c:pt>
                <c:pt idx="60">
                  <c:v>940.58727638202106</c:v>
                </c:pt>
                <c:pt idx="61">
                  <c:v>947.90306028476141</c:v>
                </c:pt>
                <c:pt idx="62">
                  <c:v>955.1707956630205</c:v>
                </c:pt>
                <c:pt idx="63">
                  <c:v>962.38775722215121</c:v>
                </c:pt>
                <c:pt idx="64">
                  <c:v>969.5513354483885</c:v>
                </c:pt>
                <c:pt idx="65">
                  <c:v>976.65891539190386</c:v>
                </c:pt>
                <c:pt idx="66">
                  <c:v>983.70792365577825</c:v>
                </c:pt>
                <c:pt idx="67">
                  <c:v>990.69598864777549</c:v>
                </c:pt>
                <c:pt idx="68">
                  <c:v>997.62082205687273</c:v>
                </c:pt>
                <c:pt idx="69">
                  <c:v>1004.4801415518749</c:v>
                </c:pt>
                <c:pt idx="70">
                  <c:v>1011.2720973438602</c:v>
                </c:pt>
                <c:pt idx="71">
                  <c:v>1017.9951601452893</c:v>
                </c:pt>
                <c:pt idx="72">
                  <c:v>1024.6479316922457</c:v>
                </c:pt>
                <c:pt idx="73">
                  <c:v>1031.2291480693036</c:v>
                </c:pt>
                <c:pt idx="74">
                  <c:v>1037.7376802933893</c:v>
                </c:pt>
                <c:pt idx="75">
                  <c:v>1044.1725335162919</c:v>
                </c:pt>
                <c:pt idx="76">
                  <c:v>1050.5328444488723</c:v>
                </c:pt>
                <c:pt idx="77">
                  <c:v>1056.8178756149589</c:v>
                </c:pt>
                <c:pt idx="78">
                  <c:v>1063.0270069566761</c:v>
                </c:pt>
                <c:pt idx="79">
                  <c:v>1069.1597231275584</c:v>
                </c:pt>
                <c:pt idx="80">
                  <c:v>1075.2156040458501</c:v>
                </c:pt>
                <c:pt idx="81">
                  <c:v>1081.1943162537627</c:v>
                </c:pt>
                <c:pt idx="82">
                  <c:v>1087.0956049051463</c:v>
                </c:pt>
                <c:pt idx="83">
                  <c:v>1092.919287294467</c:v>
                </c:pt>
                <c:pt idx="84">
                  <c:v>1098.6652468733791</c:v>
                </c:pt>
                <c:pt idx="85">
                  <c:v>1104.3334281050286</c:v>
                </c:pt>
                <c:pt idx="86">
                  <c:v>1109.923832649627</c:v>
                </c:pt>
                <c:pt idx="87">
                  <c:v>1115.4365145771542</c:v>
                </c:pt>
                <c:pt idx="88">
                  <c:v>1120.8715767200467</c:v>
                </c:pt>
                <c:pt idx="89">
                  <c:v>1126.2291674129124</c:v>
                </c:pt>
                <c:pt idx="90">
                  <c:v>1131.5094777200015</c:v>
                </c:pt>
                <c:pt idx="91">
                  <c:v>1136.7127389361272</c:v>
                </c:pt>
                <c:pt idx="92">
                  <c:v>1141.8392203392966</c:v>
                </c:pt>
                <c:pt idx="93">
                  <c:v>1146.88922737870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691.72828701395781</c:v>
                </c:pt>
                <c:pt idx="32">
                  <c:v>703.954662023541</c:v>
                </c:pt>
                <c:pt idx="33">
                  <c:v>715.69307494490306</c:v>
                </c:pt>
                <c:pt idx="34">
                  <c:v>727.12180120592245</c:v>
                </c:pt>
                <c:pt idx="35">
                  <c:v>738.5693990957335</c:v>
                </c:pt>
                <c:pt idx="36">
                  <c:v>750.149604641407</c:v>
                </c:pt>
                <c:pt idx="37">
                  <c:v>761.91272229972856</c:v>
                </c:pt>
                <c:pt idx="38">
                  <c:v>773.89703990602118</c:v>
                </c:pt>
                <c:pt idx="39">
                  <c:v>786.13539156414754</c:v>
                </c:pt>
                <c:pt idx="40">
                  <c:v>798.65752277613319</c:v>
                </c:pt>
                <c:pt idx="41">
                  <c:v>811.49067179982842</c:v>
                </c:pt>
                <c:pt idx="42">
                  <c:v>824.65934995099167</c:v>
                </c:pt>
                <c:pt idx="43">
                  <c:v>838.18380621908659</c:v>
                </c:pt>
                <c:pt idx="44">
                  <c:v>852.0818290589242</c:v>
                </c:pt>
                <c:pt idx="45">
                  <c:v>866.36898504997805</c:v>
                </c:pt>
                <c:pt idx="46">
                  <c:v>881.05867502394085</c:v>
                </c:pt>
                <c:pt idx="47">
                  <c:v>896.16277521379186</c:v>
                </c:pt>
                <c:pt idx="48">
                  <c:v>911.69170733032479</c:v>
                </c:pt>
                <c:pt idx="49">
                  <c:v>927.65446028897509</c:v>
                </c:pt>
                <c:pt idx="50">
                  <c:v>944.05906096912179</c:v>
                </c:pt>
                <c:pt idx="51">
                  <c:v>960.91179746117768</c:v>
                </c:pt>
                <c:pt idx="52">
                  <c:v>978.21754435719936</c:v>
                </c:pt>
                <c:pt idx="53">
                  <c:v>995.97972936555311</c:v>
                </c:pt>
                <c:pt idx="54">
                  <c:v>1014.2003663121311</c:v>
                </c:pt>
                <c:pt idx="55">
                  <c:v>1032.8800252396888</c:v>
                </c:pt>
                <c:pt idx="56">
                  <c:v>1052.0177534601969</c:v>
                </c:pt>
                <c:pt idx="57">
                  <c:v>1071.6110490721189</c:v>
                </c:pt>
                <c:pt idx="58">
                  <c:v>1091.6555697918677</c:v>
                </c:pt>
                <c:pt idx="59">
                  <c:v>1112.1451275841878</c:v>
                </c:pt>
                <c:pt idx="60">
                  <c:v>1133.0718828561389</c:v>
                </c:pt>
                <c:pt idx="61">
                  <c:v>1154.426088946901</c:v>
                </c:pt>
                <c:pt idx="62">
                  <c:v>1176.1959184376001</c:v>
                </c:pt>
                <c:pt idx="63">
                  <c:v>1198.3676950787776</c:v>
                </c:pt>
                <c:pt idx="64">
                  <c:v>1220.9258054000354</c:v>
                </c:pt>
                <c:pt idx="65">
                  <c:v>1243.8525441771199</c:v>
                </c:pt>
                <c:pt idx="66">
                  <c:v>1267.1282288606658</c:v>
                </c:pt>
                <c:pt idx="67">
                  <c:v>1290.7312901965151</c:v>
                </c:pt>
                <c:pt idx="68">
                  <c:v>1314.6383637409522</c:v>
                </c:pt>
                <c:pt idx="69">
                  <c:v>1338.8243928286356</c:v>
                </c:pt>
                <c:pt idx="70">
                  <c:v>1363.2636857504401</c:v>
                </c:pt>
                <c:pt idx="71">
                  <c:v>1387.9298284727302</c:v>
                </c:pt>
                <c:pt idx="72">
                  <c:v>1412.7955830217916</c:v>
                </c:pt>
                <c:pt idx="73">
                  <c:v>1437.8329185984085</c:v>
                </c:pt>
                <c:pt idx="74">
                  <c:v>1463.013114844553</c:v>
                </c:pt>
                <c:pt idx="75">
                  <c:v>1488.3069025948878</c:v>
                </c:pt>
                <c:pt idx="76">
                  <c:v>1513.6846201454857</c:v>
                </c:pt>
                <c:pt idx="77">
                  <c:v>1539.1163716991687</c:v>
                </c:pt>
                <c:pt idx="78">
                  <c:v>1564.5721832663337</c:v>
                </c:pt>
                <c:pt idx="79">
                  <c:v>1590.0221468012383</c:v>
                </c:pt>
                <c:pt idx="80">
                  <c:v>1615.4365730885827</c:v>
                </c:pt>
                <c:pt idx="81">
                  <c:v>1640.7861432687262</c:v>
                </c:pt>
                <c:pt idx="82">
                  <c:v>1666.0420565363343</c:v>
                </c:pt>
                <c:pt idx="83">
                  <c:v>1691.1761755561092</c:v>
                </c:pt>
                <c:pt idx="84">
                  <c:v>1716.1611647562797</c:v>
                </c:pt>
                <c:pt idx="85">
                  <c:v>1740.9706207887064</c:v>
                </c:pt>
                <c:pt idx="86">
                  <c:v>1765.5791959625267</c:v>
                </c:pt>
                <c:pt idx="87">
                  <c:v>1789.9627061751419</c:v>
                </c:pt>
                <c:pt idx="88">
                  <c:v>1814.0982291632079</c:v>
                </c:pt>
                <c:pt idx="89">
                  <c:v>1837.9641901422131</c:v>
                </c:pt>
                <c:pt idx="90">
                  <c:v>1861.5404347610679</c:v>
                </c:pt>
                <c:pt idx="91">
                  <c:v>1884.8082885867816</c:v>
                </c:pt>
                <c:pt idx="92">
                  <c:v>1907.7506029652066</c:v>
                </c:pt>
                <c:pt idx="93">
                  <c:v>1930.3517879355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691.72828701395781</c:v>
                </c:pt>
                <c:pt idx="32">
                  <c:v>703.954662023541</c:v>
                </c:pt>
                <c:pt idx="33">
                  <c:v>715.69307494490306</c:v>
                </c:pt>
                <c:pt idx="34">
                  <c:v>727.28608035048956</c:v>
                </c:pt>
                <c:pt idx="35">
                  <c:v>738.98133460886584</c:v>
                </c:pt>
                <c:pt idx="36">
                  <c:v>750.94180417896587</c:v>
                </c:pt>
                <c:pt idx="37">
                  <c:v>763.26809797436681</c:v>
                </c:pt>
                <c:pt idx="38">
                  <c:v>776.0367916657051</c:v>
                </c:pt>
                <c:pt idx="39">
                  <c:v>789.31355346071325</c:v>
                </c:pt>
                <c:pt idx="40">
                  <c:v>803.15787436343999</c:v>
                </c:pt>
                <c:pt idx="41">
                  <c:v>817.62423088958587</c:v>
                </c:pt>
                <c:pt idx="42">
                  <c:v>832.7616456706678</c:v>
                </c:pt>
                <c:pt idx="43">
                  <c:v>848.61061668561308</c:v>
                </c:pt>
                <c:pt idx="44">
                  <c:v>865.20672084404487</c:v>
                </c:pt>
                <c:pt idx="45">
                  <c:v>882.58109130490914</c:v>
                </c:pt>
                <c:pt idx="46">
                  <c:v>900.76052973158767</c:v>
                </c:pt>
                <c:pt idx="47">
                  <c:v>919.76878859004523</c:v>
                </c:pt>
                <c:pt idx="48">
                  <c:v>939.62671130186652</c:v>
                </c:pt>
                <c:pt idx="49">
                  <c:v>960.35227569792505</c:v>
                </c:pt>
                <c:pt idx="50">
                  <c:v>981.96153553697388</c:v>
                </c:pt>
                <c:pt idx="51">
                  <c:v>1004.4670669998401</c:v>
                </c:pt>
                <c:pt idx="52">
                  <c:v>1027.8786192706377</c:v>
                </c:pt>
                <c:pt idx="53">
                  <c:v>1052.2030477661017</c:v>
                </c:pt>
                <c:pt idx="54">
                  <c:v>1077.4443801380119</c:v>
                </c:pt>
                <c:pt idx="55">
                  <c:v>1103.6037564718838</c:v>
                </c:pt>
                <c:pt idx="56">
                  <c:v>1130.6792713916554</c:v>
                </c:pt>
                <c:pt idx="57">
                  <c:v>1158.6659210942537</c:v>
                </c:pt>
                <c:pt idx="58">
                  <c:v>1187.555021012508</c:v>
                </c:pt>
                <c:pt idx="59">
                  <c:v>1217.3341950759036</c:v>
                </c:pt>
                <c:pt idx="60">
                  <c:v>1247.9877640985612</c:v>
                </c:pt>
                <c:pt idx="61">
                  <c:v>1279.4962347588412</c:v>
                </c:pt>
                <c:pt idx="62">
                  <c:v>1311.8359522189949</c:v>
                </c:pt>
                <c:pt idx="63">
                  <c:v>1344.9795639801043</c:v>
                </c:pt>
                <c:pt idx="64">
                  <c:v>1378.8958431013766</c:v>
                </c:pt>
                <c:pt idx="65">
                  <c:v>1413.5493791342997</c:v>
                </c:pt>
                <c:pt idx="66">
                  <c:v>1448.9008069801482</c:v>
                </c:pt>
                <c:pt idx="67">
                  <c:v>1484.9069881306023</c:v>
                </c:pt>
                <c:pt idx="68">
                  <c:v>1521.5211936982307</c:v>
                </c:pt>
                <c:pt idx="69">
                  <c:v>1558.6933103523545</c:v>
                </c:pt>
                <c:pt idx="70">
                  <c:v>1596.3719546747188</c:v>
                </c:pt>
                <c:pt idx="71">
                  <c:v>1634.5042985980531</c:v>
                </c:pt>
                <c:pt idx="72">
                  <c:v>1673.0358661749315</c:v>
                </c:pt>
                <c:pt idx="73">
                  <c:v>1711.9105958069194</c:v>
                </c:pt>
                <c:pt idx="74">
                  <c:v>1751.0710467779638</c:v>
                </c:pt>
                <c:pt idx="75">
                  <c:v>1790.4586807573901</c:v>
                </c:pt>
                <c:pt idx="76">
                  <c:v>1830.0141743373415</c:v>
                </c:pt>
                <c:pt idx="77">
                  <c:v>1869.6777359234641</c:v>
                </c:pt>
                <c:pt idx="78">
                  <c:v>1909.3894175365494</c:v>
                </c:pt>
                <c:pt idx="79">
                  <c:v>1949.089403085113</c:v>
                </c:pt>
                <c:pt idx="80">
                  <c:v>1988.7183141385576</c:v>
                </c:pt>
                <c:pt idx="81">
                  <c:v>2028.2175129776001</c:v>
                </c:pt>
                <c:pt idx="82">
                  <c:v>2067.5293979915718</c:v>
                </c:pt>
                <c:pt idx="83">
                  <c:v>2106.5976945098773</c:v>
                </c:pt>
                <c:pt idx="84">
                  <c:v>2145.3677313889762</c:v>
                </c:pt>
                <c:pt idx="85">
                  <c:v>2183.7867019325822</c:v>
                </c:pt>
                <c:pt idx="86">
                  <c:v>2221.8039107589807</c:v>
                </c:pt>
                <c:pt idx="87">
                  <c:v>2259.3709896629653</c:v>
                </c:pt>
                <c:pt idx="88">
                  <c:v>2296.4420941178514</c:v>
                </c:pt>
                <c:pt idx="89">
                  <c:v>2332.9740745546173</c:v>
                </c:pt>
                <c:pt idx="90">
                  <c:v>2368.9266222710821</c:v>
                </c:pt>
                <c:pt idx="91">
                  <c:v>2404.2623884012651</c:v>
                </c:pt>
                <c:pt idx="92">
                  <c:v>2438.9470756368705</c:v>
                </c:pt>
                <c:pt idx="93">
                  <c:v>2472.9495040563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32</c:v>
                </c:pt>
                <c:pt idx="1">
                  <c:v>62</c:v>
                </c:pt>
                <c:pt idx="2">
                  <c:v>100</c:v>
                </c:pt>
                <c:pt idx="3">
                  <c:v>113</c:v>
                </c:pt>
                <c:pt idx="4">
                  <c:v>134</c:v>
                </c:pt>
                <c:pt idx="5">
                  <c:v>182</c:v>
                </c:pt>
                <c:pt idx="6">
                  <c:v>214</c:v>
                </c:pt>
                <c:pt idx="7">
                  <c:v>239</c:v>
                </c:pt>
                <c:pt idx="8">
                  <c:v>266</c:v>
                </c:pt>
                <c:pt idx="9">
                  <c:v>311</c:v>
                </c:pt>
                <c:pt idx="10">
                  <c:v>341</c:v>
                </c:pt>
                <c:pt idx="11">
                  <c:v>356</c:v>
                </c:pt>
                <c:pt idx="12">
                  <c:v>389</c:v>
                </c:pt>
                <c:pt idx="13">
                  <c:v>422</c:v>
                </c:pt>
                <c:pt idx="14">
                  <c:v>454</c:v>
                </c:pt>
                <c:pt idx="15">
                  <c:v>472</c:v>
                </c:pt>
                <c:pt idx="16">
                  <c:v>499</c:v>
                </c:pt>
                <c:pt idx="17">
                  <c:v>513</c:v>
                </c:pt>
                <c:pt idx="18">
                  <c:v>537</c:v>
                </c:pt>
                <c:pt idx="19">
                  <c:v>554</c:v>
                </c:pt>
                <c:pt idx="20">
                  <c:v>571</c:v>
                </c:pt>
                <c:pt idx="21">
                  <c:v>579</c:v>
                </c:pt>
                <c:pt idx="22">
                  <c:v>600</c:v>
                </c:pt>
                <c:pt idx="23">
                  <c:v>610</c:v>
                </c:pt>
                <c:pt idx="24">
                  <c:v>620</c:v>
                </c:pt>
                <c:pt idx="25">
                  <c:v>636</c:v>
                </c:pt>
                <c:pt idx="26">
                  <c:v>659</c:v>
                </c:pt>
                <c:pt idx="27">
                  <c:v>676</c:v>
                </c:pt>
                <c:pt idx="28">
                  <c:v>689</c:v>
                </c:pt>
                <c:pt idx="29">
                  <c:v>701</c:v>
                </c:pt>
                <c:pt idx="30">
                  <c:v>710</c:v>
                </c:pt>
                <c:pt idx="31">
                  <c:v>722</c:v>
                </c:pt>
                <c:pt idx="32">
                  <c:v>730</c:v>
                </c:pt>
                <c:pt idx="33">
                  <c:v>749</c:v>
                </c:pt>
                <c:pt idx="34">
                  <c:v>758</c:v>
                </c:pt>
                <c:pt idx="35">
                  <c:v>765</c:v>
                </c:pt>
                <c:pt idx="36">
                  <c:v>770</c:v>
                </c:pt>
                <c:pt idx="37">
                  <c:v>780</c:v>
                </c:pt>
                <c:pt idx="38">
                  <c:v>784</c:v>
                </c:pt>
                <c:pt idx="39">
                  <c:v>789</c:v>
                </c:pt>
                <c:pt idx="40">
                  <c:v>796</c:v>
                </c:pt>
                <c:pt idx="41">
                  <c:v>801</c:v>
                </c:pt>
                <c:pt idx="42">
                  <c:v>813</c:v>
                </c:pt>
                <c:pt idx="43">
                  <c:v>817</c:v>
                </c:pt>
                <c:pt idx="44">
                  <c:v>824</c:v>
                </c:pt>
                <c:pt idx="45">
                  <c:v>826</c:v>
                </c:pt>
                <c:pt idx="46">
                  <c:v>829</c:v>
                </c:pt>
                <c:pt idx="47">
                  <c:v>838</c:v>
                </c:pt>
                <c:pt idx="48">
                  <c:v>850</c:v>
                </c:pt>
                <c:pt idx="49">
                  <c:v>858</c:v>
                </c:pt>
                <c:pt idx="50">
                  <c:v>865</c:v>
                </c:pt>
                <c:pt idx="51">
                  <c:v>878</c:v>
                </c:pt>
                <c:pt idx="52">
                  <c:v>880</c:v>
                </c:pt>
                <c:pt idx="53">
                  <c:v>891</c:v>
                </c:pt>
                <c:pt idx="54">
                  <c:v>904</c:v>
                </c:pt>
                <c:pt idx="55">
                  <c:v>918</c:v>
                </c:pt>
                <c:pt idx="56">
                  <c:v>931</c:v>
                </c:pt>
                <c:pt idx="57">
                  <c:v>944</c:v>
                </c:pt>
                <c:pt idx="58">
                  <c:v>961</c:v>
                </c:pt>
                <c:pt idx="59">
                  <c:v>970</c:v>
                </c:pt>
                <c:pt idx="60">
                  <c:v>977</c:v>
                </c:pt>
                <c:pt idx="61">
                  <c:v>990</c:v>
                </c:pt>
                <c:pt idx="62">
                  <c:v>1011</c:v>
                </c:pt>
                <c:pt idx="63">
                  <c:v>1034</c:v>
                </c:pt>
                <c:pt idx="64">
                  <c:v>1048</c:v>
                </c:pt>
                <c:pt idx="65">
                  <c:v>1074</c:v>
                </c:pt>
                <c:pt idx="66">
                  <c:v>1087</c:v>
                </c:pt>
                <c:pt idx="67">
                  <c:v>1099</c:v>
                </c:pt>
                <c:pt idx="68">
                  <c:v>1124</c:v>
                </c:pt>
                <c:pt idx="69">
                  <c:v>1142</c:v>
                </c:pt>
                <c:pt idx="70">
                  <c:v>1168</c:v>
                </c:pt>
                <c:pt idx="71">
                  <c:v>1207</c:v>
                </c:pt>
                <c:pt idx="72">
                  <c:v>1233</c:v>
                </c:pt>
                <c:pt idx="73">
                  <c:v>1247</c:v>
                </c:pt>
                <c:pt idx="74">
                  <c:v>1253</c:v>
                </c:pt>
                <c:pt idx="75">
                  <c:v>1279</c:v>
                </c:pt>
                <c:pt idx="76">
                  <c:v>1297</c:v>
                </c:pt>
                <c:pt idx="77">
                  <c:v>1328</c:v>
                </c:pt>
                <c:pt idx="78">
                  <c:v>1352</c:v>
                </c:pt>
                <c:pt idx="79">
                  <c:v>1374</c:v>
                </c:pt>
                <c:pt idx="80">
                  <c:v>1384</c:v>
                </c:pt>
                <c:pt idx="81">
                  <c:v>1397</c:v>
                </c:pt>
                <c:pt idx="82">
                  <c:v>1426</c:v>
                </c:pt>
                <c:pt idx="83">
                  <c:v>1441</c:v>
                </c:pt>
                <c:pt idx="84">
                  <c:v>1462</c:v>
                </c:pt>
                <c:pt idx="85">
                  <c:v>1478</c:v>
                </c:pt>
                <c:pt idx="86">
                  <c:v>1496</c:v>
                </c:pt>
                <c:pt idx="87">
                  <c:v>1508</c:v>
                </c:pt>
                <c:pt idx="88">
                  <c:v>1527</c:v>
                </c:pt>
                <c:pt idx="89">
                  <c:v>1552</c:v>
                </c:pt>
                <c:pt idx="90">
                  <c:v>1570</c:v>
                </c:pt>
                <c:pt idx="91">
                  <c:v>1582</c:v>
                </c:pt>
                <c:pt idx="92">
                  <c:v>1598</c:v>
                </c:pt>
                <c:pt idx="93">
                  <c:v>16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09.66611941349845</c:v>
                </c:pt>
                <c:pt idx="32">
                  <c:v>718.95107666715296</c:v>
                </c:pt>
                <c:pt idx="33">
                  <c:v>727.86546561033219</c:v>
                </c:pt>
                <c:pt idx="34">
                  <c:v>736.41991530456551</c:v>
                </c:pt>
                <c:pt idx="35">
                  <c:v>744.62505461242233</c:v>
                </c:pt>
                <c:pt idx="36">
                  <c:v>752.50035323126372</c:v>
                </c:pt>
                <c:pt idx="37">
                  <c:v>760.05564001022731</c:v>
                </c:pt>
                <c:pt idx="38">
                  <c:v>767.30070333062815</c:v>
                </c:pt>
                <c:pt idx="39">
                  <c:v>774.24526804304412</c:v>
                </c:pt>
                <c:pt idx="40">
                  <c:v>780.89897481443347</c:v>
                </c:pt>
                <c:pt idx="41">
                  <c:v>787.34453017046098</c:v>
                </c:pt>
                <c:pt idx="42">
                  <c:v>793.64357352566276</c:v>
                </c:pt>
                <c:pt idx="43">
                  <c:v>799.83383651687097</c:v>
                </c:pt>
                <c:pt idx="44">
                  <c:v>805.93951735353392</c:v>
                </c:pt>
                <c:pt idx="45">
                  <c:v>811.97737325218588</c:v>
                </c:pt>
                <c:pt idx="46">
                  <c:v>817.96017179341061</c:v>
                </c:pt>
                <c:pt idx="47">
                  <c:v>823.89818621076518</c:v>
                </c:pt>
                <c:pt idx="48">
                  <c:v>829.79972126495659</c:v>
                </c:pt>
                <c:pt idx="49">
                  <c:v>835.67120155405871</c:v>
                </c:pt>
                <c:pt idx="50">
                  <c:v>841.51661418594597</c:v>
                </c:pt>
                <c:pt idx="51">
                  <c:v>847.33846624410376</c:v>
                </c:pt>
                <c:pt idx="52">
                  <c:v>853.13804549431245</c:v>
                </c:pt>
                <c:pt idx="53">
                  <c:v>858.91557954544112</c:v>
                </c:pt>
                <c:pt idx="54">
                  <c:v>864.670638602228</c:v>
                </c:pt>
                <c:pt idx="55">
                  <c:v>870.4022709919692</c:v>
                </c:pt>
                <c:pt idx="56">
                  <c:v>876.10911733086027</c:v>
                </c:pt>
                <c:pt idx="57">
                  <c:v>881.78970790064056</c:v>
                </c:pt>
                <c:pt idx="58">
                  <c:v>887.4421916993773</c:v>
                </c:pt>
                <c:pt idx="59">
                  <c:v>893.0645562954727</c:v>
                </c:pt>
                <c:pt idx="60">
                  <c:v>898.65468525243364</c:v>
                </c:pt>
                <c:pt idx="61">
                  <c:v>904.21043998436983</c:v>
                </c:pt>
                <c:pt idx="62">
                  <c:v>909.72970569191727</c:v>
                </c:pt>
                <c:pt idx="63">
                  <c:v>915.21041273102526</c:v>
                </c:pt>
                <c:pt idx="64">
                  <c:v>920.65057938399389</c:v>
                </c:pt>
                <c:pt idx="65">
                  <c:v>926.04821980486633</c:v>
                </c:pt>
                <c:pt idx="66">
                  <c:v>931.40137970380863</c:v>
                </c:pt>
                <c:pt idx="67">
                  <c:v>936.70825804555727</c:v>
                </c:pt>
                <c:pt idx="68">
                  <c:v>941.96711704029201</c:v>
                </c:pt>
                <c:pt idx="69">
                  <c:v>947.17622343939513</c:v>
                </c:pt>
                <c:pt idx="70">
                  <c:v>952.3341724756275</c:v>
                </c:pt>
                <c:pt idx="71">
                  <c:v>957.43980277700268</c:v>
                </c:pt>
                <c:pt idx="72">
                  <c:v>962.49205247353188</c:v>
                </c:pt>
                <c:pt idx="73">
                  <c:v>967.4899617221962</c:v>
                </c:pt>
                <c:pt idx="74">
                  <c:v>972.43267315034245</c:v>
                </c:pt>
                <c:pt idx="75">
                  <c:v>977.31943125005398</c:v>
                </c:pt>
                <c:pt idx="76">
                  <c:v>982.14958042204262</c:v>
                </c:pt>
                <c:pt idx="77">
                  <c:v>986.9225606119403</c:v>
                </c:pt>
                <c:pt idx="78">
                  <c:v>991.63790093521538</c:v>
                </c:pt>
                <c:pt idx="79">
                  <c:v>996.29521002730576</c:v>
                </c:pt>
                <c:pt idx="80">
                  <c:v>1000.8941688696026</c:v>
                </c:pt>
                <c:pt idx="81">
                  <c:v>1005.4345242274957</c:v>
                </c:pt>
                <c:pt idx="82">
                  <c:v>1009.9160825656478</c:v>
                </c:pt>
                <c:pt idx="83">
                  <c:v>1014.3387051337697</c:v>
                </c:pt>
                <c:pt idx="84">
                  <c:v>1018.7023034226827</c:v>
                </c:pt>
                <c:pt idx="85">
                  <c:v>1023.006835256573</c:v>
                </c:pt>
                <c:pt idx="86">
                  <c:v>1027.252301896239</c:v>
                </c:pt>
                <c:pt idx="87">
                  <c:v>1031.4387444035206</c:v>
                </c:pt>
                <c:pt idx="88">
                  <c:v>1035.5662408714563</c:v>
                </c:pt>
                <c:pt idx="89">
                  <c:v>1039.6349039483573</c:v>
                </c:pt>
                <c:pt idx="90">
                  <c:v>1043.6448787322915</c:v>
                </c:pt>
                <c:pt idx="91">
                  <c:v>1047.5963408732334</c:v>
                </c:pt>
                <c:pt idx="92">
                  <c:v>1051.489494866365</c:v>
                </c:pt>
                <c:pt idx="93">
                  <c:v>1055.324572676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09.66611941349845</c:v>
                </c:pt>
                <c:pt idx="32">
                  <c:v>718.95107666715296</c:v>
                </c:pt>
                <c:pt idx="33">
                  <c:v>727.86546561033219</c:v>
                </c:pt>
                <c:pt idx="34">
                  <c:v>736.54467222014978</c:v>
                </c:pt>
                <c:pt idx="35">
                  <c:v>745.23821032777437</c:v>
                </c:pt>
                <c:pt idx="36">
                  <c:v>754.03245337985106</c:v>
                </c:pt>
                <c:pt idx="37">
                  <c:v>762.96560360153285</c:v>
                </c:pt>
                <c:pt idx="38">
                  <c:v>772.06673755181885</c:v>
                </c:pt>
                <c:pt idx="39">
                  <c:v>781.36079011538152</c:v>
                </c:pt>
                <c:pt idx="40">
                  <c:v>790.87035062999087</c:v>
                </c:pt>
                <c:pt idx="41">
                  <c:v>800.61610438131879</c:v>
                </c:pt>
                <c:pt idx="42">
                  <c:v>810.61666575988329</c:v>
                </c:pt>
                <c:pt idx="43">
                  <c:v>820.88741225913213</c:v>
                </c:pt>
                <c:pt idx="44">
                  <c:v>831.44185279257397</c:v>
                </c:pt>
                <c:pt idx="45">
                  <c:v>842.29180893650471</c:v>
                </c:pt>
                <c:pt idx="46">
                  <c:v>853.44745755441261</c:v>
                </c:pt>
                <c:pt idx="47">
                  <c:v>864.91781769858937</c:v>
                </c:pt>
                <c:pt idx="48">
                  <c:v>876.7108038276665</c:v>
                </c:pt>
                <c:pt idx="49">
                  <c:v>888.8332423064096</c:v>
                </c:pt>
                <c:pt idx="50">
                  <c:v>901.29122890988333</c:v>
                </c:pt>
                <c:pt idx="51">
                  <c:v>914.0895389415316</c:v>
                </c:pt>
                <c:pt idx="52">
                  <c:v>927.2318742654669</c:v>
                </c:pt>
                <c:pt idx="53">
                  <c:v>940.72083795297033</c:v>
                </c:pt>
                <c:pt idx="54">
                  <c:v>954.55795934428465</c:v>
                </c:pt>
                <c:pt idx="55">
                  <c:v>968.74367134144438</c:v>
                </c:pt>
                <c:pt idx="56">
                  <c:v>983.27725045383022</c:v>
                </c:pt>
                <c:pt idx="57">
                  <c:v>998.15679668665211</c:v>
                </c:pt>
                <c:pt idx="58">
                  <c:v>1013.3790124216497</c:v>
                </c:pt>
                <c:pt idx="59">
                  <c:v>1028.9391983392957</c:v>
                </c:pt>
                <c:pt idx="60">
                  <c:v>1044.831400893647</c:v>
                </c:pt>
                <c:pt idx="61">
                  <c:v>1061.0482182727187</c:v>
                </c:pt>
                <c:pt idx="62">
                  <c:v>1077.5806684946408</c:v>
                </c:pt>
                <c:pt idx="63">
                  <c:v>1094.4183655380857</c:v>
                </c:pt>
                <c:pt idx="64">
                  <c:v>1111.5494522168381</c:v>
                </c:pt>
                <c:pt idx="65">
                  <c:v>1128.960482824363</c:v>
                </c:pt>
                <c:pt idx="66">
                  <c:v>1146.6365100333167</c:v>
                </c:pt>
                <c:pt idx="67">
                  <c:v>1164.5611537144543</c:v>
                </c:pt>
                <c:pt idx="68">
                  <c:v>1182.7166704351573</c:v>
                </c:pt>
                <c:pt idx="69">
                  <c:v>1201.0840316553692</c:v>
                </c:pt>
                <c:pt idx="70">
                  <c:v>1219.6437265698989</c:v>
                </c:pt>
                <c:pt idx="71">
                  <c:v>1238.375695825667</c:v>
                </c:pt>
                <c:pt idx="72">
                  <c:v>1257.2592543527803</c:v>
                </c:pt>
                <c:pt idx="73">
                  <c:v>1276.2731149935735</c:v>
                </c:pt>
                <c:pt idx="74">
                  <c:v>1295.3954669254281</c:v>
                </c:pt>
                <c:pt idx="75">
                  <c:v>1314.6040825503201</c:v>
                </c:pt>
                <c:pt idx="76">
                  <c:v>1333.8764361684555</c:v>
                </c:pt>
                <c:pt idx="77">
                  <c:v>1353.1898243048756</c:v>
                </c:pt>
                <c:pt idx="78">
                  <c:v>1372.5214841037082</c:v>
                </c:pt>
                <c:pt idx="79">
                  <c:v>1391.8487027881865</c:v>
                </c:pt>
                <c:pt idx="80">
                  <c:v>1411.148933765822</c:v>
                </c:pt>
                <c:pt idx="81">
                  <c:v>1430.3999116997281</c:v>
                </c:pt>
                <c:pt idx="82">
                  <c:v>1449.5797646739697</c:v>
                </c:pt>
                <c:pt idx="83">
                  <c:v>1468.6671246252192</c:v>
                </c:pt>
                <c:pt idx="84">
                  <c:v>1487.6412323656384</c:v>
                </c:pt>
                <c:pt idx="85">
                  <c:v>1506.4820366569304</c:v>
                </c:pt>
                <c:pt idx="86">
                  <c:v>1525.1702879483535</c:v>
                </c:pt>
                <c:pt idx="87">
                  <c:v>1543.6876203417019</c:v>
                </c:pt>
                <c:pt idx="88">
                  <c:v>1562.0166262051027</c:v>
                </c:pt>
                <c:pt idx="89">
                  <c:v>1580.1409212094488</c:v>
                </c:pt>
                <c:pt idx="90">
                  <c:v>1598.0451997315936</c:v>
                </c:pt>
                <c:pt idx="91">
                  <c:v>1615.7152800282227</c:v>
                </c:pt>
                <c:pt idx="92">
                  <c:v>1633.1381390634324</c:v>
                </c:pt>
                <c:pt idx="93">
                  <c:v>1650.30193750470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09.66611941349845</c:v>
                </c:pt>
                <c:pt idx="32">
                  <c:v>718.95107666715296</c:v>
                </c:pt>
                <c:pt idx="33">
                  <c:v>727.86546561033219</c:v>
                </c:pt>
                <c:pt idx="34">
                  <c:v>736.66942913573416</c:v>
                </c:pt>
                <c:pt idx="35">
                  <c:v>745.55104251455907</c:v>
                </c:pt>
                <c:pt idx="36">
                  <c:v>754.63406578228717</c:v>
                </c:pt>
                <c:pt idx="37">
                  <c:v>763.99490338922931</c:v>
                </c:pt>
                <c:pt idx="38">
                  <c:v>773.69170845337612</c:v>
                </c:pt>
                <c:pt idx="39">
                  <c:v>783.77435074407799</c:v>
                </c:pt>
                <c:pt idx="40">
                  <c:v>794.28800893687333</c:v>
                </c:pt>
                <c:pt idx="41">
                  <c:v>805.27405360310581</c:v>
                </c:pt>
                <c:pt idx="42">
                  <c:v>816.76971352381156</c:v>
                </c:pt>
                <c:pt idx="43">
                  <c:v>828.805743685886</c:v>
                </c:pt>
                <c:pt idx="44">
                  <c:v>841.40916191634733</c:v>
                </c:pt>
                <c:pt idx="45">
                  <c:v>854.60361136778624</c:v>
                </c:pt>
                <c:pt idx="46">
                  <c:v>868.40944576717698</c:v>
                </c:pt>
                <c:pt idx="47">
                  <c:v>882.84470321910703</c:v>
                </c:pt>
                <c:pt idx="48">
                  <c:v>897.92521264083803</c:v>
                </c:pt>
                <c:pt idx="49">
                  <c:v>913.66462676190281</c:v>
                </c:pt>
                <c:pt idx="50">
                  <c:v>930.0751371324269</c:v>
                </c:pt>
                <c:pt idx="51">
                  <c:v>947.16629435929917</c:v>
                </c:pt>
                <c:pt idx="52">
                  <c:v>964.9455021707455</c:v>
                </c:pt>
                <c:pt idx="53">
                  <c:v>983.41796670932979</c:v>
                </c:pt>
                <c:pt idx="54">
                  <c:v>1002.5867466555341</c:v>
                </c:pt>
                <c:pt idx="55">
                  <c:v>1022.4527078134311</c:v>
                </c:pt>
                <c:pt idx="56">
                  <c:v>1043.0144032017795</c:v>
                </c:pt>
                <c:pt idx="57">
                  <c:v>1064.2680328309991</c:v>
                </c:pt>
                <c:pt idx="58">
                  <c:v>1086.2070014645719</c:v>
                </c:pt>
                <c:pt idx="59">
                  <c:v>1108.8219104634406</c:v>
                </c:pt>
                <c:pt idx="60">
                  <c:v>1132.1008527357196</c:v>
                </c:pt>
                <c:pt idx="61">
                  <c:v>1156.0290246574393</c:v>
                </c:pt>
                <c:pt idx="62">
                  <c:v>1180.5884622648603</c:v>
                </c:pt>
                <c:pt idx="63">
                  <c:v>1205.7583935153259</c:v>
                </c:pt>
                <c:pt idx="64">
                  <c:v>1231.515104036408</c:v>
                </c:pt>
                <c:pt idx="65">
                  <c:v>1257.8317024150338</c:v>
                </c:pt>
                <c:pt idx="66">
                  <c:v>1284.6782939965187</c:v>
                </c:pt>
                <c:pt idx="67">
                  <c:v>1312.0221185223706</c:v>
                </c:pt>
                <c:pt idx="68">
                  <c:v>1339.8276891273522</c:v>
                </c:pt>
                <c:pt idx="69">
                  <c:v>1368.0569487313535</c:v>
                </c:pt>
                <c:pt idx="70">
                  <c:v>1396.6708757239896</c:v>
                </c:pt>
                <c:pt idx="71">
                  <c:v>1425.6293513991016</c:v>
                </c:pt>
                <c:pt idx="72">
                  <c:v>1454.891005616905</c:v>
                </c:pt>
                <c:pt idx="73">
                  <c:v>1484.4132640620669</c:v>
                </c:pt>
                <c:pt idx="74">
                  <c:v>1514.1525050893529</c:v>
                </c:pt>
                <c:pt idx="75">
                  <c:v>1544.0642735027143</c:v>
                </c:pt>
                <c:pt idx="76">
                  <c:v>1574.1035179025616</c:v>
                </c:pt>
                <c:pt idx="77">
                  <c:v>1604.2248313389794</c:v>
                </c:pt>
                <c:pt idx="78">
                  <c:v>1634.382688100221</c:v>
                </c:pt>
                <c:pt idx="79">
                  <c:v>1664.5316626327533</c:v>
                </c:pt>
                <c:pt idx="80">
                  <c:v>1694.626661751601</c:v>
                </c:pt>
                <c:pt idx="81">
                  <c:v>1724.6231547829898</c:v>
                </c:pt>
                <c:pt idx="82">
                  <c:v>1754.4773978950495</c:v>
                </c:pt>
                <c:pt idx="83">
                  <c:v>1784.146654961125</c:v>
                </c:pt>
                <c:pt idx="84">
                  <c:v>1813.589407605542</c:v>
                </c:pt>
                <c:pt idx="85">
                  <c:v>1842.7655533517009</c:v>
                </c:pt>
                <c:pt idx="86">
                  <c:v>1871.6365930981253</c:v>
                </c:pt>
                <c:pt idx="87">
                  <c:v>1900.1657950483975</c:v>
                </c:pt>
                <c:pt idx="88">
                  <c:v>1928.3183439387749</c:v>
                </c:pt>
                <c:pt idx="89">
                  <c:v>1956.0614711110436</c:v>
                </c:pt>
                <c:pt idx="90">
                  <c:v>1983.3645653189096</c:v>
                </c:pt>
                <c:pt idx="91">
                  <c:v>2010.1992630757443</c:v>
                </c:pt>
                <c:pt idx="92">
                  <c:v>2036.5395183097403</c:v>
                </c:pt>
                <c:pt idx="93">
                  <c:v>2062.3616523558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105</c:v>
                </c:pt>
                <c:pt idx="1">
                  <c:v>228</c:v>
                </c:pt>
                <c:pt idx="2">
                  <c:v>315</c:v>
                </c:pt>
                <c:pt idx="3">
                  <c:v>386</c:v>
                </c:pt>
                <c:pt idx="4">
                  <c:v>424</c:v>
                </c:pt>
                <c:pt idx="5">
                  <c:v>525</c:v>
                </c:pt>
                <c:pt idx="6">
                  <c:v>626</c:v>
                </c:pt>
                <c:pt idx="7">
                  <c:v>725</c:v>
                </c:pt>
                <c:pt idx="8">
                  <c:v>801</c:v>
                </c:pt>
                <c:pt idx="9">
                  <c:v>891</c:v>
                </c:pt>
                <c:pt idx="10">
                  <c:v>939</c:v>
                </c:pt>
                <c:pt idx="11">
                  <c:v>985</c:v>
                </c:pt>
                <c:pt idx="12">
                  <c:v>1056</c:v>
                </c:pt>
                <c:pt idx="13">
                  <c:v>1127</c:v>
                </c:pt>
                <c:pt idx="14">
                  <c:v>1190</c:v>
                </c:pt>
                <c:pt idx="15">
                  <c:v>1246</c:v>
                </c:pt>
                <c:pt idx="16">
                  <c:v>1313</c:v>
                </c:pt>
                <c:pt idx="17">
                  <c:v>1347</c:v>
                </c:pt>
                <c:pt idx="18">
                  <c:v>1376</c:v>
                </c:pt>
                <c:pt idx="19">
                  <c:v>1434</c:v>
                </c:pt>
                <c:pt idx="20">
                  <c:v>1492</c:v>
                </c:pt>
                <c:pt idx="21">
                  <c:v>1534</c:v>
                </c:pt>
                <c:pt idx="22">
                  <c:v>1567</c:v>
                </c:pt>
                <c:pt idx="23">
                  <c:v>1586</c:v>
                </c:pt>
                <c:pt idx="24">
                  <c:v>1607</c:v>
                </c:pt>
                <c:pt idx="25">
                  <c:v>1632</c:v>
                </c:pt>
                <c:pt idx="26">
                  <c:v>1694</c:v>
                </c:pt>
                <c:pt idx="27">
                  <c:v>1731</c:v>
                </c:pt>
                <c:pt idx="28">
                  <c:v>1797</c:v>
                </c:pt>
                <c:pt idx="29">
                  <c:v>1825</c:v>
                </c:pt>
                <c:pt idx="30">
                  <c:v>1863</c:v>
                </c:pt>
                <c:pt idx="31">
                  <c:v>1879</c:v>
                </c:pt>
                <c:pt idx="32">
                  <c:v>1897</c:v>
                </c:pt>
                <c:pt idx="33">
                  <c:v>1921</c:v>
                </c:pt>
                <c:pt idx="34">
                  <c:v>1952</c:v>
                </c:pt>
                <c:pt idx="35">
                  <c:v>1994</c:v>
                </c:pt>
                <c:pt idx="36">
                  <c:v>2023</c:v>
                </c:pt>
                <c:pt idx="37">
                  <c:v>2047</c:v>
                </c:pt>
                <c:pt idx="38">
                  <c:v>2070</c:v>
                </c:pt>
                <c:pt idx="39">
                  <c:v>2080</c:v>
                </c:pt>
                <c:pt idx="40">
                  <c:v>2111</c:v>
                </c:pt>
                <c:pt idx="41">
                  <c:v>2145</c:v>
                </c:pt>
                <c:pt idx="42">
                  <c:v>2162</c:v>
                </c:pt>
                <c:pt idx="43">
                  <c:v>2186</c:v>
                </c:pt>
                <c:pt idx="44">
                  <c:v>2199</c:v>
                </c:pt>
                <c:pt idx="45">
                  <c:v>2206</c:v>
                </c:pt>
                <c:pt idx="46">
                  <c:v>2220</c:v>
                </c:pt>
                <c:pt idx="47">
                  <c:v>2240</c:v>
                </c:pt>
                <c:pt idx="48">
                  <c:v>2258</c:v>
                </c:pt>
                <c:pt idx="49">
                  <c:v>2298</c:v>
                </c:pt>
                <c:pt idx="50">
                  <c:v>2332</c:v>
                </c:pt>
                <c:pt idx="51">
                  <c:v>2359</c:v>
                </c:pt>
                <c:pt idx="52">
                  <c:v>2375</c:v>
                </c:pt>
                <c:pt idx="53">
                  <c:v>2388</c:v>
                </c:pt>
                <c:pt idx="54">
                  <c:v>2426</c:v>
                </c:pt>
                <c:pt idx="55">
                  <c:v>2466</c:v>
                </c:pt>
                <c:pt idx="56">
                  <c:v>2499</c:v>
                </c:pt>
                <c:pt idx="57">
                  <c:v>2564</c:v>
                </c:pt>
                <c:pt idx="58">
                  <c:v>2632</c:v>
                </c:pt>
                <c:pt idx="59">
                  <c:v>2656</c:v>
                </c:pt>
                <c:pt idx="60">
                  <c:v>2692</c:v>
                </c:pt>
                <c:pt idx="61">
                  <c:v>2770</c:v>
                </c:pt>
                <c:pt idx="62">
                  <c:v>2854</c:v>
                </c:pt>
                <c:pt idx="63">
                  <c:v>2930</c:v>
                </c:pt>
                <c:pt idx="64">
                  <c:v>3003</c:v>
                </c:pt>
                <c:pt idx="65">
                  <c:v>3069</c:v>
                </c:pt>
                <c:pt idx="66">
                  <c:v>3125</c:v>
                </c:pt>
                <c:pt idx="67">
                  <c:v>3165</c:v>
                </c:pt>
                <c:pt idx="68">
                  <c:v>3274</c:v>
                </c:pt>
                <c:pt idx="69">
                  <c:v>3368</c:v>
                </c:pt>
                <c:pt idx="70">
                  <c:v>3462</c:v>
                </c:pt>
                <c:pt idx="71">
                  <c:v>3543</c:v>
                </c:pt>
                <c:pt idx="72">
                  <c:v>3633</c:v>
                </c:pt>
                <c:pt idx="73">
                  <c:v>3673</c:v>
                </c:pt>
                <c:pt idx="74">
                  <c:v>3717</c:v>
                </c:pt>
                <c:pt idx="75">
                  <c:v>3840</c:v>
                </c:pt>
                <c:pt idx="76">
                  <c:v>3924</c:v>
                </c:pt>
                <c:pt idx="77">
                  <c:v>4006</c:v>
                </c:pt>
                <c:pt idx="78">
                  <c:v>4088</c:v>
                </c:pt>
                <c:pt idx="79">
                  <c:v>4145</c:v>
                </c:pt>
                <c:pt idx="80">
                  <c:v>4181</c:v>
                </c:pt>
                <c:pt idx="81">
                  <c:v>4230</c:v>
                </c:pt>
                <c:pt idx="82">
                  <c:v>4321</c:v>
                </c:pt>
                <c:pt idx="83">
                  <c:v>4391</c:v>
                </c:pt>
                <c:pt idx="84">
                  <c:v>4451</c:v>
                </c:pt>
                <c:pt idx="85">
                  <c:v>4508</c:v>
                </c:pt>
                <c:pt idx="86">
                  <c:v>4552</c:v>
                </c:pt>
                <c:pt idx="87">
                  <c:v>4577</c:v>
                </c:pt>
                <c:pt idx="88">
                  <c:v>4616</c:v>
                </c:pt>
                <c:pt idx="89">
                  <c:v>4699</c:v>
                </c:pt>
                <c:pt idx="90">
                  <c:v>4784</c:v>
                </c:pt>
                <c:pt idx="91">
                  <c:v>4833</c:v>
                </c:pt>
                <c:pt idx="92">
                  <c:v>4872</c:v>
                </c:pt>
                <c:pt idx="93">
                  <c:v>49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889.5722436901244</c:v>
                </c:pt>
                <c:pt idx="32">
                  <c:v>1926.6234757843831</c:v>
                </c:pt>
                <c:pt idx="33">
                  <c:v>1962.1959705939018</c:v>
                </c:pt>
                <c:pt idx="34">
                  <c:v>1996.3321429424548</c:v>
                </c:pt>
                <c:pt idx="35">
                  <c:v>2029.0744068598758</c:v>
                </c:pt>
                <c:pt idx="36">
                  <c:v>2060.5004553560539</c:v>
                </c:pt>
                <c:pt idx="37">
                  <c:v>2090.649510040811</c:v>
                </c:pt>
                <c:pt idx="38">
                  <c:v>2119.5606310388225</c:v>
                </c:pt>
                <c:pt idx="39">
                  <c:v>2147.2726249580246</c:v>
                </c:pt>
                <c:pt idx="40">
                  <c:v>2173.8239624751527</c:v>
                </c:pt>
                <c:pt idx="41">
                  <c:v>2199.5446805084612</c:v>
                </c:pt>
                <c:pt idx="42">
                  <c:v>2224.6807485537415</c:v>
                </c:pt>
                <c:pt idx="43">
                  <c:v>2249.3827331236203</c:v>
                </c:pt>
                <c:pt idx="44">
                  <c:v>2273.7471961569449</c:v>
                </c:pt>
                <c:pt idx="45">
                  <c:v>2297.8410066227489</c:v>
                </c:pt>
                <c:pt idx="46">
                  <c:v>2321.7151130153079</c:v>
                </c:pt>
                <c:pt idx="47">
                  <c:v>2345.4105102418125</c:v>
                </c:pt>
                <c:pt idx="48">
                  <c:v>2368.9603381011912</c:v>
                </c:pt>
                <c:pt idx="49">
                  <c:v>2392.3902336823221</c:v>
                </c:pt>
                <c:pt idx="50">
                  <c:v>2415.7161073717803</c:v>
                </c:pt>
                <c:pt idx="51">
                  <c:v>2438.9479635809557</c:v>
                </c:pt>
                <c:pt idx="52">
                  <c:v>2462.0909410851286</c:v>
                </c:pt>
                <c:pt idx="53">
                  <c:v>2485.1459481479342</c:v>
                </c:pt>
                <c:pt idx="54">
                  <c:v>2508.1112696894252</c:v>
                </c:pt>
                <c:pt idx="55">
                  <c:v>2530.9831080996328</c:v>
                </c:pt>
                <c:pt idx="56">
                  <c:v>2553.7560388145589</c:v>
                </c:pt>
                <c:pt idx="57">
                  <c:v>2576.4241969851901</c:v>
                </c:pt>
                <c:pt idx="58">
                  <c:v>2598.9801962660267</c:v>
                </c:pt>
                <c:pt idx="59">
                  <c:v>2621.41600613327</c:v>
                </c:pt>
                <c:pt idx="60">
                  <c:v>2643.7231810359517</c:v>
                </c:pt>
                <c:pt idx="61">
                  <c:v>2665.8931870368651</c:v>
                </c:pt>
                <c:pt idx="62">
                  <c:v>2687.9175851179375</c:v>
                </c:pt>
                <c:pt idx="63">
                  <c:v>2709.788116451477</c:v>
                </c:pt>
                <c:pt idx="64">
                  <c:v>2731.4968730762048</c:v>
                </c:pt>
                <c:pt idx="65">
                  <c:v>2753.0359305572056</c:v>
                </c:pt>
                <c:pt idx="66">
                  <c:v>2774.3974903829467</c:v>
                </c:pt>
                <c:pt idx="67">
                  <c:v>2795.5743655978254</c:v>
                </c:pt>
                <c:pt idx="68">
                  <c:v>2816.5596216245244</c:v>
                </c:pt>
                <c:pt idx="69">
                  <c:v>2837.3463420072048</c:v>
                </c:pt>
                <c:pt idx="70">
                  <c:v>2857.9289210811776</c:v>
                </c:pt>
                <c:pt idx="71">
                  <c:v>2878.3027244402911</c:v>
                </c:pt>
                <c:pt idx="72">
                  <c:v>2898.4635147369372</c:v>
                </c:pt>
                <c:pt idx="73">
                  <c:v>2918.4074617578476</c:v>
                </c:pt>
                <c:pt idx="74">
                  <c:v>2938.1311441934463</c:v>
                </c:pt>
                <c:pt idx="75">
                  <c:v>2957.6315472211118</c:v>
                </c:pt>
                <c:pt idx="76">
                  <c:v>2976.9060546994097</c:v>
                </c:pt>
                <c:pt idx="77">
                  <c:v>2995.952431754898</c:v>
                </c:pt>
                <c:pt idx="78">
                  <c:v>3014.7687993426234</c:v>
                </c:pt>
                <c:pt idx="79">
                  <c:v>3033.3535957387321</c:v>
                </c:pt>
                <c:pt idx="80">
                  <c:v>3051.7055479128594</c:v>
                </c:pt>
                <c:pt idx="81">
                  <c:v>3069.8236453429249</c:v>
                </c:pt>
                <c:pt idx="82">
                  <c:v>3087.7071157342916</c:v>
                </c:pt>
                <c:pt idx="83">
                  <c:v>3105.3554054097553</c:v>
                </c:pt>
                <c:pt idx="84">
                  <c:v>3122.7681611771541</c:v>
                </c:pt>
                <c:pt idx="85">
                  <c:v>3139.9452147356747</c:v>
                </c:pt>
                <c:pt idx="86">
                  <c:v>3156.8865711164794</c:v>
                </c:pt>
                <c:pt idx="87">
                  <c:v>3173.5923941751162</c:v>
                </c:pt>
                <c:pt idx="88">
                  <c:v>3190.0629955385775</c:v>
                </c:pt>
                <c:pt idx="89">
                  <c:v>3206.2988247252183</c:v>
                </c:pt>
                <c:pt idx="90">
                  <c:v>3222.3004607427883</c:v>
                </c:pt>
                <c:pt idx="91">
                  <c:v>3238.0686045151342</c:v>
                </c:pt>
                <c:pt idx="92">
                  <c:v>3253.6040720716951</c:v>
                </c:pt>
                <c:pt idx="93">
                  <c:v>3268.90778905633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889.5722436901244</c:v>
                </c:pt>
                <c:pt idx="32">
                  <c:v>1926.6234757843831</c:v>
                </c:pt>
                <c:pt idx="33">
                  <c:v>1962.1959705939018</c:v>
                </c:pt>
                <c:pt idx="34">
                  <c:v>1996.8299801762082</c:v>
                </c:pt>
                <c:pt idx="35">
                  <c:v>2031.5211789988093</c:v>
                </c:pt>
                <c:pt idx="36">
                  <c:v>2066.6142366741765</c:v>
                </c:pt>
                <c:pt idx="37">
                  <c:v>2102.2615975778726</c:v>
                </c:pt>
                <c:pt idx="38">
                  <c:v>2138.5792904978116</c:v>
                </c:pt>
                <c:pt idx="39">
                  <c:v>2175.6668170443945</c:v>
                </c:pt>
                <c:pt idx="40">
                  <c:v>2213.6143190215857</c:v>
                </c:pt>
                <c:pt idx="41">
                  <c:v>2252.5043401933926</c:v>
                </c:pt>
                <c:pt idx="42">
                  <c:v>2292.4111605036569</c:v>
                </c:pt>
                <c:pt idx="43">
                  <c:v>2333.3961431943621</c:v>
                </c:pt>
                <c:pt idx="44">
                  <c:v>2375.513195017696</c:v>
                </c:pt>
                <c:pt idx="45">
                  <c:v>2418.8094894775418</c:v>
                </c:pt>
                <c:pt idx="46">
                  <c:v>2463.3256369203768</c:v>
                </c:pt>
                <c:pt idx="47">
                  <c:v>2509.0976274957079</c:v>
                </c:pt>
                <c:pt idx="48">
                  <c:v>2556.1570435184185</c:v>
                </c:pt>
                <c:pt idx="49">
                  <c:v>2604.5311253105024</c:v>
                </c:pt>
                <c:pt idx="50">
                  <c:v>2654.2441978064253</c:v>
                </c:pt>
                <c:pt idx="51">
                  <c:v>2705.3153166540906</c:v>
                </c:pt>
                <c:pt idx="52">
                  <c:v>2757.7592539868174</c:v>
                </c:pt>
                <c:pt idx="53">
                  <c:v>2811.586397251263</c:v>
                </c:pt>
                <c:pt idx="54">
                  <c:v>2866.8028492154581</c:v>
                </c:pt>
                <c:pt idx="55">
                  <c:v>2923.4103373567959</c:v>
                </c:pt>
                <c:pt idx="56">
                  <c:v>2981.4059746163357</c:v>
                </c:pt>
                <c:pt idx="57">
                  <c:v>3040.7821791446386</c:v>
                </c:pt>
                <c:pt idx="58">
                  <c:v>3101.5257919344858</c:v>
                </c:pt>
                <c:pt idx="59">
                  <c:v>3163.6180605486038</c:v>
                </c:pt>
                <c:pt idx="60">
                  <c:v>3227.0352276118642</c:v>
                </c:pt>
                <c:pt idx="61">
                  <c:v>3291.7477565043046</c:v>
                </c:pt>
                <c:pt idx="62">
                  <c:v>3357.7198050043794</c:v>
                </c:pt>
                <c:pt idx="63">
                  <c:v>3424.909928130035</c:v>
                </c:pt>
                <c:pt idx="64">
                  <c:v>3493.2708102774986</c:v>
                </c:pt>
                <c:pt idx="65">
                  <c:v>3562.7487969193585</c:v>
                </c:pt>
                <c:pt idx="66">
                  <c:v>3633.2842413734088</c:v>
                </c:pt>
                <c:pt idx="67">
                  <c:v>3704.8117794216128</c:v>
                </c:pt>
                <c:pt idx="68">
                  <c:v>3777.260606641059</c:v>
                </c:pt>
                <c:pt idx="69">
                  <c:v>3850.5547904415607</c:v>
                </c:pt>
                <c:pt idx="70">
                  <c:v>3924.6164737741592</c:v>
                </c:pt>
                <c:pt idx="71">
                  <c:v>3999.365610632577</c:v>
                </c:pt>
                <c:pt idx="72">
                  <c:v>4074.7196581138633</c:v>
                </c:pt>
                <c:pt idx="73">
                  <c:v>4150.5936707090887</c:v>
                </c:pt>
                <c:pt idx="74">
                  <c:v>4226.9006132463182</c:v>
                </c:pt>
                <c:pt idx="75">
                  <c:v>4303.5517874288544</c:v>
                </c:pt>
                <c:pt idx="76">
                  <c:v>4380.4573053974054</c:v>
                </c:pt>
                <c:pt idx="77">
                  <c:v>4457.5265698883495</c:v>
                </c:pt>
                <c:pt idx="78">
                  <c:v>4534.668746681019</c:v>
                </c:pt>
                <c:pt idx="79">
                  <c:v>4611.7932013933168</c:v>
                </c:pt>
                <c:pt idx="80">
                  <c:v>4688.8099627945303</c:v>
                </c:pt>
                <c:pt idx="81">
                  <c:v>4765.6301819926175</c:v>
                </c:pt>
                <c:pt idx="82">
                  <c:v>4842.1665800253259</c:v>
                </c:pt>
                <c:pt idx="83">
                  <c:v>4918.3338885330786</c:v>
                </c:pt>
                <c:pt idx="84">
                  <c:v>4994.0492688483773</c:v>
                </c:pt>
                <c:pt idx="85">
                  <c:v>5069.232707346644</c:v>
                </c:pt>
                <c:pt idx="86">
                  <c:v>5143.8073895038306</c:v>
                </c:pt>
                <c:pt idx="87">
                  <c:v>5217.7000269742339</c:v>
                </c:pt>
                <c:pt idx="88">
                  <c:v>5290.841155333721</c:v>
                </c:pt>
                <c:pt idx="89">
                  <c:v>5363.1653936048806</c:v>
                </c:pt>
                <c:pt idx="90">
                  <c:v>5434.6116653411491</c:v>
                </c:pt>
                <c:pt idx="91">
                  <c:v>5505.1233788912468</c:v>
                </c:pt>
                <c:pt idx="92">
                  <c:v>5574.6485663771691</c:v>
                </c:pt>
                <c:pt idx="93">
                  <c:v>5643.13998343957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889.5722436901244</c:v>
                </c:pt>
                <c:pt idx="32">
                  <c:v>1926.6234757843831</c:v>
                </c:pt>
                <c:pt idx="33">
                  <c:v>1962.1959705939018</c:v>
                </c:pt>
                <c:pt idx="34">
                  <c:v>1997.3278174099619</c:v>
                </c:pt>
                <c:pt idx="35">
                  <c:v>2032.7695227059978</c:v>
                </c:pt>
                <c:pt idx="36">
                  <c:v>2069.0149457075618</c:v>
                </c:pt>
                <c:pt idx="37">
                  <c:v>2106.3689751657985</c:v>
                </c:pt>
                <c:pt idx="38">
                  <c:v>2145.0636686565063</c:v>
                </c:pt>
                <c:pt idx="39">
                  <c:v>2185.2980294005092</c:v>
                </c:pt>
                <c:pt idx="40">
                  <c:v>2227.2523410057288</c:v>
                </c:pt>
                <c:pt idx="41">
                  <c:v>2271.0916910001797</c:v>
                </c:pt>
                <c:pt idx="42">
                  <c:v>2316.9646392715454</c:v>
                </c:pt>
                <c:pt idx="43">
                  <c:v>2364.9939123037925</c:v>
                </c:pt>
                <c:pt idx="44">
                  <c:v>2415.2873236013011</c:v>
                </c:pt>
                <c:pt idx="45">
                  <c:v>2467.9392201718333</c:v>
                </c:pt>
                <c:pt idx="46">
                  <c:v>2523.0308227083333</c:v>
                </c:pt>
                <c:pt idx="47">
                  <c:v>2580.634111509833</c:v>
                </c:pt>
                <c:pt idx="48">
                  <c:v>2640.8122512060913</c:v>
                </c:pt>
                <c:pt idx="49">
                  <c:v>2703.6197224411035</c:v>
                </c:pt>
                <c:pt idx="50">
                  <c:v>2769.1051750837864</c:v>
                </c:pt>
                <c:pt idx="51">
                  <c:v>2837.3067204299505</c:v>
                </c:pt>
                <c:pt idx="52">
                  <c:v>2908.2539027462371</c:v>
                </c:pt>
                <c:pt idx="53">
                  <c:v>2981.9674969259695</c:v>
                </c:pt>
                <c:pt idx="54">
                  <c:v>3058.4597085051928</c:v>
                </c:pt>
                <c:pt idx="55">
                  <c:v>3137.7339924387093</c:v>
                </c:pt>
                <c:pt idx="56">
                  <c:v>3219.7845746086264</c:v>
                </c:pt>
                <c:pt idx="57">
                  <c:v>3304.5962913160656</c:v>
                </c:pt>
                <c:pt idx="58">
                  <c:v>3392.1428245466013</c:v>
                </c:pt>
                <c:pt idx="59">
                  <c:v>3482.3866694256744</c:v>
                </c:pt>
                <c:pt idx="60">
                  <c:v>3575.2803112030324</c:v>
                </c:pt>
                <c:pt idx="61">
                  <c:v>3670.7646766387502</c:v>
                </c:pt>
                <c:pt idx="62">
                  <c:v>3768.7680812897374</c:v>
                </c:pt>
                <c:pt idx="63">
                  <c:v>3869.2076351918822</c:v>
                </c:pt>
                <c:pt idx="64">
                  <c:v>3971.9887071376506</c:v>
                </c:pt>
                <c:pt idx="65">
                  <c:v>4077.0039880722043</c:v>
                </c:pt>
                <c:pt idx="66">
                  <c:v>4184.1341846311452</c:v>
                </c:pt>
                <c:pt idx="67">
                  <c:v>4293.2485683783907</c:v>
                </c:pt>
                <c:pt idx="68">
                  <c:v>4404.2055304681171</c:v>
                </c:pt>
                <c:pt idx="69">
                  <c:v>4516.8532057199618</c:v>
                </c:pt>
                <c:pt idx="70">
                  <c:v>4631.0358800359963</c:v>
                </c:pt>
                <c:pt idx="71">
                  <c:v>4746.593461403666</c:v>
                </c:pt>
                <c:pt idx="72">
                  <c:v>4863.360864017076</c:v>
                </c:pt>
                <c:pt idx="73">
                  <c:v>4981.1681968583616</c:v>
                </c:pt>
                <c:pt idx="74">
                  <c:v>5099.8413895836575</c:v>
                </c:pt>
                <c:pt idx="75">
                  <c:v>5219.2030455995709</c:v>
                </c:pt>
                <c:pt idx="76">
                  <c:v>5339.0733891875107</c:v>
                </c:pt>
                <c:pt idx="77">
                  <c:v>5459.2712258202391</c:v>
                </c:pt>
                <c:pt idx="78">
                  <c:v>5579.6148870564157</c:v>
                </c:pt>
                <c:pt idx="79">
                  <c:v>5699.9231041318453</c:v>
                </c:pt>
                <c:pt idx="80">
                  <c:v>5820.0159345851098</c:v>
                </c:pt>
                <c:pt idx="81">
                  <c:v>5939.7156806321209</c:v>
                </c:pt>
                <c:pt idx="82">
                  <c:v>6058.8477843483743</c:v>
                </c:pt>
                <c:pt idx="83">
                  <c:v>6177.2417090147173</c:v>
                </c:pt>
                <c:pt idx="84">
                  <c:v>6294.7317772961596</c:v>
                </c:pt>
                <c:pt idx="85">
                  <c:v>6411.1579619435233</c:v>
                </c:pt>
                <c:pt idx="86">
                  <c:v>6526.3666339087404</c:v>
                </c:pt>
                <c:pt idx="87">
                  <c:v>6640.21121650038</c:v>
                </c:pt>
                <c:pt idx="88">
                  <c:v>6752.5527808701872</c:v>
                </c:pt>
                <c:pt idx="89">
                  <c:v>6863.2605650633432</c:v>
                </c:pt>
                <c:pt idx="90">
                  <c:v>6972.2124161867177</c:v>
                </c:pt>
                <c:pt idx="91">
                  <c:v>7079.2951509377508</c:v>
                </c:pt>
                <c:pt idx="92">
                  <c:v>7184.404833560433</c:v>
                </c:pt>
                <c:pt idx="93">
                  <c:v>7287.44697533607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49</c:v>
                </c:pt>
                <c:pt idx="1">
                  <c:v>104</c:v>
                </c:pt>
                <c:pt idx="2">
                  <c:v>148</c:v>
                </c:pt>
                <c:pt idx="3">
                  <c:v>164</c:v>
                </c:pt>
                <c:pt idx="4">
                  <c:v>191</c:v>
                </c:pt>
                <c:pt idx="5">
                  <c:v>251</c:v>
                </c:pt>
                <c:pt idx="6">
                  <c:v>295</c:v>
                </c:pt>
                <c:pt idx="7">
                  <c:v>330</c:v>
                </c:pt>
                <c:pt idx="8">
                  <c:v>368</c:v>
                </c:pt>
                <c:pt idx="9">
                  <c:v>415</c:v>
                </c:pt>
                <c:pt idx="10">
                  <c:v>449</c:v>
                </c:pt>
                <c:pt idx="11">
                  <c:v>470</c:v>
                </c:pt>
                <c:pt idx="12">
                  <c:v>530</c:v>
                </c:pt>
                <c:pt idx="13">
                  <c:v>559</c:v>
                </c:pt>
                <c:pt idx="14">
                  <c:v>601</c:v>
                </c:pt>
                <c:pt idx="15">
                  <c:v>629</c:v>
                </c:pt>
                <c:pt idx="16">
                  <c:v>664</c:v>
                </c:pt>
                <c:pt idx="17">
                  <c:v>677</c:v>
                </c:pt>
                <c:pt idx="18">
                  <c:v>702</c:v>
                </c:pt>
                <c:pt idx="19">
                  <c:v>736</c:v>
                </c:pt>
                <c:pt idx="20">
                  <c:v>759</c:v>
                </c:pt>
                <c:pt idx="21">
                  <c:v>788</c:v>
                </c:pt>
                <c:pt idx="22">
                  <c:v>806</c:v>
                </c:pt>
                <c:pt idx="23">
                  <c:v>813</c:v>
                </c:pt>
                <c:pt idx="24">
                  <c:v>822</c:v>
                </c:pt>
                <c:pt idx="25">
                  <c:v>836</c:v>
                </c:pt>
                <c:pt idx="26">
                  <c:v>857</c:v>
                </c:pt>
                <c:pt idx="27">
                  <c:v>882</c:v>
                </c:pt>
                <c:pt idx="28">
                  <c:v>897</c:v>
                </c:pt>
                <c:pt idx="29">
                  <c:v>905</c:v>
                </c:pt>
                <c:pt idx="30">
                  <c:v>923</c:v>
                </c:pt>
                <c:pt idx="31">
                  <c:v>936</c:v>
                </c:pt>
                <c:pt idx="32">
                  <c:v>945</c:v>
                </c:pt>
                <c:pt idx="33">
                  <c:v>962</c:v>
                </c:pt>
                <c:pt idx="34">
                  <c:v>975</c:v>
                </c:pt>
                <c:pt idx="35">
                  <c:v>988</c:v>
                </c:pt>
                <c:pt idx="36">
                  <c:v>997</c:v>
                </c:pt>
                <c:pt idx="37">
                  <c:v>1010</c:v>
                </c:pt>
                <c:pt idx="38">
                  <c:v>1020</c:v>
                </c:pt>
                <c:pt idx="39">
                  <c:v>1025</c:v>
                </c:pt>
                <c:pt idx="40">
                  <c:v>1039</c:v>
                </c:pt>
                <c:pt idx="41">
                  <c:v>1056</c:v>
                </c:pt>
                <c:pt idx="42">
                  <c:v>1066</c:v>
                </c:pt>
                <c:pt idx="43">
                  <c:v>1073</c:v>
                </c:pt>
                <c:pt idx="44">
                  <c:v>1085</c:v>
                </c:pt>
                <c:pt idx="45">
                  <c:v>1091</c:v>
                </c:pt>
                <c:pt idx="46">
                  <c:v>1092</c:v>
                </c:pt>
                <c:pt idx="47">
                  <c:v>1103</c:v>
                </c:pt>
                <c:pt idx="48">
                  <c:v>1113</c:v>
                </c:pt>
                <c:pt idx="49">
                  <c:v>1125</c:v>
                </c:pt>
                <c:pt idx="50">
                  <c:v>1132</c:v>
                </c:pt>
                <c:pt idx="51">
                  <c:v>1144</c:v>
                </c:pt>
                <c:pt idx="52">
                  <c:v>1154</c:v>
                </c:pt>
                <c:pt idx="53">
                  <c:v>1166</c:v>
                </c:pt>
                <c:pt idx="54">
                  <c:v>1184</c:v>
                </c:pt>
                <c:pt idx="55">
                  <c:v>1204</c:v>
                </c:pt>
                <c:pt idx="56">
                  <c:v>1220</c:v>
                </c:pt>
                <c:pt idx="57">
                  <c:v>1235</c:v>
                </c:pt>
                <c:pt idx="58">
                  <c:v>1258</c:v>
                </c:pt>
                <c:pt idx="59">
                  <c:v>1270</c:v>
                </c:pt>
                <c:pt idx="60">
                  <c:v>1285</c:v>
                </c:pt>
                <c:pt idx="61">
                  <c:v>1314</c:v>
                </c:pt>
                <c:pt idx="62">
                  <c:v>1352</c:v>
                </c:pt>
                <c:pt idx="63">
                  <c:v>1399</c:v>
                </c:pt>
                <c:pt idx="64">
                  <c:v>1417</c:v>
                </c:pt>
                <c:pt idx="65">
                  <c:v>1466</c:v>
                </c:pt>
                <c:pt idx="66">
                  <c:v>1485</c:v>
                </c:pt>
                <c:pt idx="67">
                  <c:v>1504</c:v>
                </c:pt>
                <c:pt idx="68">
                  <c:v>1550</c:v>
                </c:pt>
                <c:pt idx="69">
                  <c:v>1595</c:v>
                </c:pt>
                <c:pt idx="70">
                  <c:v>1628</c:v>
                </c:pt>
                <c:pt idx="71">
                  <c:v>1658</c:v>
                </c:pt>
                <c:pt idx="72">
                  <c:v>1692</c:v>
                </c:pt>
                <c:pt idx="73">
                  <c:v>1710</c:v>
                </c:pt>
                <c:pt idx="74">
                  <c:v>1725</c:v>
                </c:pt>
                <c:pt idx="75">
                  <c:v>1769</c:v>
                </c:pt>
                <c:pt idx="76">
                  <c:v>1820</c:v>
                </c:pt>
                <c:pt idx="77">
                  <c:v>1858</c:v>
                </c:pt>
                <c:pt idx="78">
                  <c:v>1884</c:v>
                </c:pt>
                <c:pt idx="79">
                  <c:v>1914</c:v>
                </c:pt>
                <c:pt idx="80">
                  <c:v>1932</c:v>
                </c:pt>
                <c:pt idx="81">
                  <c:v>1943</c:v>
                </c:pt>
                <c:pt idx="82">
                  <c:v>1975</c:v>
                </c:pt>
                <c:pt idx="83">
                  <c:v>1995</c:v>
                </c:pt>
                <c:pt idx="84">
                  <c:v>2017</c:v>
                </c:pt>
                <c:pt idx="85">
                  <c:v>2037</c:v>
                </c:pt>
                <c:pt idx="86">
                  <c:v>2062</c:v>
                </c:pt>
                <c:pt idx="87">
                  <c:v>2074</c:v>
                </c:pt>
                <c:pt idx="88">
                  <c:v>2084</c:v>
                </c:pt>
                <c:pt idx="89">
                  <c:v>2106</c:v>
                </c:pt>
                <c:pt idx="90">
                  <c:v>2121</c:v>
                </c:pt>
                <c:pt idx="91">
                  <c:v>2134</c:v>
                </c:pt>
                <c:pt idx="92">
                  <c:v>2143</c:v>
                </c:pt>
                <c:pt idx="93">
                  <c:v>21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938.97104935194375</c:v>
                </c:pt>
                <c:pt idx="32">
                  <c:v>955.27288269805467</c:v>
                </c:pt>
                <c:pt idx="33">
                  <c:v>970.92409992653734</c:v>
                </c:pt>
                <c:pt idx="34">
                  <c:v>985.94336274847365</c:v>
                </c:pt>
                <c:pt idx="35">
                  <c:v>1000.3493325256269</c:v>
                </c:pt>
                <c:pt idx="36">
                  <c:v>1014.1761926961118</c:v>
                </c:pt>
                <c:pt idx="37">
                  <c:v>1027.4412000179561</c:v>
                </c:pt>
                <c:pt idx="38">
                  <c:v>1040.1615401988126</c:v>
                </c:pt>
                <c:pt idx="39">
                  <c:v>1052.3542874038178</c:v>
                </c:pt>
                <c:pt idx="40">
                  <c:v>1064.0363679948066</c:v>
                </c:pt>
                <c:pt idx="41">
                  <c:v>1075.3529919023358</c:v>
                </c:pt>
                <c:pt idx="42">
                  <c:v>1086.412380999255</c:v>
                </c:pt>
                <c:pt idx="43">
                  <c:v>1097.2807816708419</c:v>
                </c:pt>
                <c:pt idx="44">
                  <c:v>1108.0006793229982</c:v>
                </c:pt>
                <c:pt idx="45">
                  <c:v>1118.6014950229214</c:v>
                </c:pt>
                <c:pt idx="46">
                  <c:v>1129.1056451334687</c:v>
                </c:pt>
                <c:pt idx="47">
                  <c:v>1139.5311666295872</c:v>
                </c:pt>
                <c:pt idx="48">
                  <c:v>1149.8926403888547</c:v>
                </c:pt>
                <c:pt idx="49">
                  <c:v>1160.20134623995</c:v>
                </c:pt>
                <c:pt idx="50">
                  <c:v>1170.464284448607</c:v>
                </c:pt>
                <c:pt idx="51">
                  <c:v>1180.6858567644565</c:v>
                </c:pt>
                <c:pt idx="52">
                  <c:v>1190.8683241503193</c:v>
                </c:pt>
                <c:pt idx="53">
                  <c:v>1201.01208622482</c:v>
                </c:pt>
                <c:pt idx="54">
                  <c:v>1211.1163883855909</c:v>
                </c:pt>
                <c:pt idx="55">
                  <c:v>1221.1795597568921</c:v>
                </c:pt>
                <c:pt idx="56">
                  <c:v>1231.1992136343345</c:v>
                </c:pt>
                <c:pt idx="57">
                  <c:v>1241.1727695965442</c:v>
                </c:pt>
                <c:pt idx="58">
                  <c:v>1251.0969777927994</c:v>
                </c:pt>
                <c:pt idx="59">
                  <c:v>1260.9683049462494</c:v>
                </c:pt>
                <c:pt idx="60">
                  <c:v>1270.7830351760281</c:v>
                </c:pt>
                <c:pt idx="61">
                  <c:v>1280.5374137130152</c:v>
                </c:pt>
                <c:pt idx="62">
                  <c:v>1290.227727550694</c:v>
                </c:pt>
                <c:pt idx="63">
                  <c:v>1299.8503429628684</c:v>
                </c:pt>
                <c:pt idx="64">
                  <c:v>1309.4017805978513</c:v>
                </c:pt>
                <c:pt idx="65">
                  <c:v>1318.8785538558716</c:v>
                </c:pt>
                <c:pt idx="66">
                  <c:v>1328.2772315410375</c:v>
                </c:pt>
                <c:pt idx="67">
                  <c:v>1337.5946515303672</c:v>
                </c:pt>
                <c:pt idx="68">
                  <c:v>1346.8277627424968</c:v>
                </c:pt>
                <c:pt idx="69">
                  <c:v>1355.9735220691664</c:v>
                </c:pt>
                <c:pt idx="70">
                  <c:v>1365.0294631251468</c:v>
                </c:pt>
                <c:pt idx="71">
                  <c:v>1373.9935468603855</c:v>
                </c:pt>
                <c:pt idx="72">
                  <c:v>1382.8639089229941</c:v>
                </c:pt>
                <c:pt idx="73">
                  <c:v>1391.6388640924047</c:v>
                </c:pt>
                <c:pt idx="74">
                  <c:v>1400.3169070578524</c:v>
                </c:pt>
                <c:pt idx="75">
                  <c:v>1408.8967113550559</c:v>
                </c:pt>
                <c:pt idx="76">
                  <c:v>1417.3771259318298</c:v>
                </c:pt>
                <c:pt idx="77">
                  <c:v>1425.7571674866119</c:v>
                </c:pt>
                <c:pt idx="78">
                  <c:v>1434.0360092755682</c:v>
                </c:pt>
                <c:pt idx="79">
                  <c:v>1442.2129641700781</c:v>
                </c:pt>
                <c:pt idx="80">
                  <c:v>1450.2874720611335</c:v>
                </c:pt>
                <c:pt idx="81">
                  <c:v>1458.2590883383502</c:v>
                </c:pt>
                <c:pt idx="82">
                  <c:v>1466.1274732068616</c:v>
                </c:pt>
                <c:pt idx="83">
                  <c:v>1473.8923830592894</c:v>
                </c:pt>
                <c:pt idx="84">
                  <c:v>1481.5536624978388</c:v>
                </c:pt>
                <c:pt idx="85">
                  <c:v>1489.1112374733716</c:v>
                </c:pt>
                <c:pt idx="86">
                  <c:v>1496.5651101995027</c:v>
                </c:pt>
                <c:pt idx="87">
                  <c:v>1503.9153527695389</c:v>
                </c:pt>
                <c:pt idx="88">
                  <c:v>1511.1621022933957</c:v>
                </c:pt>
                <c:pt idx="89">
                  <c:v>1518.3055565505499</c:v>
                </c:pt>
                <c:pt idx="90">
                  <c:v>1525.3459702933353</c:v>
                </c:pt>
                <c:pt idx="91">
                  <c:v>1532.2836519148361</c:v>
                </c:pt>
                <c:pt idx="92">
                  <c:v>1539.1189604523952</c:v>
                </c:pt>
                <c:pt idx="93">
                  <c:v>1545.85230317160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938.97104935194375</c:v>
                </c:pt>
                <c:pt idx="32">
                  <c:v>955.27288269805467</c:v>
                </c:pt>
                <c:pt idx="33">
                  <c:v>970.92409992653734</c:v>
                </c:pt>
                <c:pt idx="34">
                  <c:v>986.16240160789653</c:v>
                </c:pt>
                <c:pt idx="35">
                  <c:v>1001.4258654609779</c:v>
                </c:pt>
                <c:pt idx="36">
                  <c:v>1016.8661395218759</c:v>
                </c:pt>
                <c:pt idx="37">
                  <c:v>1032.550296399638</c:v>
                </c:pt>
                <c:pt idx="38">
                  <c:v>1048.5293865413614</c:v>
                </c:pt>
                <c:pt idx="39">
                  <c:v>1064.8471887521966</c:v>
                </c:pt>
                <c:pt idx="40">
                  <c:v>1081.5433637015108</c:v>
                </c:pt>
                <c:pt idx="41">
                  <c:v>1098.6542290664377</c:v>
                </c:pt>
                <c:pt idx="42">
                  <c:v>1116.2124666013219</c:v>
                </c:pt>
                <c:pt idx="43">
                  <c:v>1134.2450749587817</c:v>
                </c:pt>
                <c:pt idx="44">
                  <c:v>1152.7757720785651</c:v>
                </c:pt>
                <c:pt idx="45">
                  <c:v>1171.8253133999701</c:v>
                </c:pt>
                <c:pt idx="46">
                  <c:v>1191.4115666985872</c:v>
                </c:pt>
                <c:pt idx="47">
                  <c:v>1211.550366951722</c:v>
                </c:pt>
                <c:pt idx="48">
                  <c:v>1232.2556097737659</c:v>
                </c:pt>
                <c:pt idx="49">
                  <c:v>1253.5392803852997</c:v>
                </c:pt>
                <c:pt idx="50">
                  <c:v>1275.4120812921619</c:v>
                </c:pt>
                <c:pt idx="51">
                  <c:v>1297.8823966149032</c:v>
                </c:pt>
                <c:pt idx="52">
                  <c:v>1320.9567258095988</c:v>
                </c:pt>
                <c:pt idx="53">
                  <c:v>1344.6396391540704</c:v>
                </c:pt>
                <c:pt idx="54">
                  <c:v>1368.9338217495076</c:v>
                </c:pt>
                <c:pt idx="55">
                  <c:v>1393.8400336529178</c:v>
                </c:pt>
                <c:pt idx="56">
                  <c:v>1419.3570046135953</c:v>
                </c:pt>
                <c:pt idx="57">
                  <c:v>1445.4813987628247</c:v>
                </c:pt>
                <c:pt idx="58">
                  <c:v>1472.2074263891564</c:v>
                </c:pt>
                <c:pt idx="59">
                  <c:v>1499.5268367789165</c:v>
                </c:pt>
                <c:pt idx="60">
                  <c:v>1527.4291771415178</c:v>
                </c:pt>
                <c:pt idx="61">
                  <c:v>1555.9014519292007</c:v>
                </c:pt>
                <c:pt idx="62">
                  <c:v>1584.9278912501327</c:v>
                </c:pt>
                <c:pt idx="63">
                  <c:v>1614.4902601050362</c:v>
                </c:pt>
                <c:pt idx="64">
                  <c:v>1644.5677405333799</c:v>
                </c:pt>
                <c:pt idx="65">
                  <c:v>1675.1367255694925</c:v>
                </c:pt>
                <c:pt idx="66">
                  <c:v>1706.1709718142204</c:v>
                </c:pt>
                <c:pt idx="67">
                  <c:v>1737.6417202620194</c:v>
                </c:pt>
                <c:pt idx="68">
                  <c:v>1769.5178183212688</c:v>
                </c:pt>
                <c:pt idx="69">
                  <c:v>1801.7658571048469</c:v>
                </c:pt>
                <c:pt idx="70">
                  <c:v>1834.3515810005861</c:v>
                </c:pt>
                <c:pt idx="71">
                  <c:v>1867.2397712969728</c:v>
                </c:pt>
                <c:pt idx="72">
                  <c:v>1900.3941106957213</c:v>
                </c:pt>
                <c:pt idx="73">
                  <c:v>1933.7772247978771</c:v>
                </c:pt>
                <c:pt idx="74">
                  <c:v>1967.3508197927365</c:v>
                </c:pt>
                <c:pt idx="75">
                  <c:v>2001.0758701265163</c:v>
                </c:pt>
                <c:pt idx="76">
                  <c:v>2034.9128268606469</c:v>
                </c:pt>
                <c:pt idx="77">
                  <c:v>2068.821828932224</c:v>
                </c:pt>
                <c:pt idx="78">
                  <c:v>2102.7629110217772</c:v>
                </c:pt>
                <c:pt idx="79">
                  <c:v>2136.6961957349836</c:v>
                </c:pt>
                <c:pt idx="80">
                  <c:v>2170.5820974514431</c:v>
                </c:pt>
                <c:pt idx="81">
                  <c:v>2204.3815243583012</c:v>
                </c:pt>
                <c:pt idx="82">
                  <c:v>2238.056075381779</c:v>
                </c:pt>
                <c:pt idx="83">
                  <c:v>2271.5682340748126</c:v>
                </c:pt>
                <c:pt idx="84">
                  <c:v>2304.881553008373</c:v>
                </c:pt>
                <c:pt idx="85">
                  <c:v>2337.9608277182751</c:v>
                </c:pt>
                <c:pt idx="86">
                  <c:v>2370.7722612833691</c:v>
                </c:pt>
                <c:pt idx="87">
                  <c:v>2403.2836082335225</c:v>
                </c:pt>
                <c:pt idx="88">
                  <c:v>2435.4643055509437</c:v>
                </c:pt>
                <c:pt idx="89">
                  <c:v>2467.2855868562838</c:v>
                </c:pt>
                <c:pt idx="90">
                  <c:v>2498.7205796814233</c:v>
                </c:pt>
                <c:pt idx="91">
                  <c:v>2529.7443847823747</c:v>
                </c:pt>
                <c:pt idx="92">
                  <c:v>2560.3341372869413</c:v>
                </c:pt>
                <c:pt idx="93">
                  <c:v>2590.46905058077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938.97104935194375</c:v>
                </c:pt>
                <c:pt idx="32">
                  <c:v>955.27288269805467</c:v>
                </c:pt>
                <c:pt idx="33">
                  <c:v>970.92409992653734</c:v>
                </c:pt>
                <c:pt idx="34">
                  <c:v>986.38144046731929</c:v>
                </c:pt>
                <c:pt idx="35">
                  <c:v>1001.975112811821</c:v>
                </c:pt>
                <c:pt idx="36">
                  <c:v>1017.9224055719543</c:v>
                </c:pt>
                <c:pt idx="37">
                  <c:v>1034.3574639658223</c:v>
                </c:pt>
                <c:pt idx="38">
                  <c:v>1051.3823888876066</c:v>
                </c:pt>
                <c:pt idx="39">
                  <c:v>1069.0847379476174</c:v>
                </c:pt>
                <c:pt idx="40">
                  <c:v>1087.5438324845863</c:v>
                </c:pt>
                <c:pt idx="41">
                  <c:v>1106.8323078527808</c:v>
                </c:pt>
                <c:pt idx="42">
                  <c:v>1127.01552756089</c:v>
                </c:pt>
                <c:pt idx="43">
                  <c:v>1148.1474889141505</c:v>
                </c:pt>
                <c:pt idx="44">
                  <c:v>1170.2756277920596</c:v>
                </c:pt>
                <c:pt idx="45">
                  <c:v>1193.441455073212</c:v>
                </c:pt>
                <c:pt idx="46">
                  <c:v>1217.6807063087833</c:v>
                </c:pt>
                <c:pt idx="47">
                  <c:v>1243.0250514533934</c:v>
                </c:pt>
                <c:pt idx="48">
                  <c:v>1269.5022817358217</c:v>
                </c:pt>
                <c:pt idx="49">
                  <c:v>1297.1363675972332</c:v>
                </c:pt>
                <c:pt idx="50">
                  <c:v>1325.9487140492984</c:v>
                </c:pt>
                <c:pt idx="51">
                  <c:v>1355.95608933312</c:v>
                </c:pt>
                <c:pt idx="52">
                  <c:v>1387.1714923608502</c:v>
                </c:pt>
                <c:pt idx="53">
                  <c:v>1419.6040636881355</c:v>
                </c:pt>
                <c:pt idx="54">
                  <c:v>1453.2591735173492</c:v>
                </c:pt>
                <c:pt idx="55">
                  <c:v>1488.1383419625117</c:v>
                </c:pt>
                <c:pt idx="56">
                  <c:v>1524.2390285222075</c:v>
                </c:pt>
                <c:pt idx="57">
                  <c:v>1561.5545614590053</c:v>
                </c:pt>
                <c:pt idx="58">
                  <c:v>1600.0733613500108</c:v>
                </c:pt>
                <c:pt idx="59">
                  <c:v>1639.7789267678718</c:v>
                </c:pt>
                <c:pt idx="60">
                  <c:v>1680.6503521314153</c:v>
                </c:pt>
                <c:pt idx="61">
                  <c:v>1722.6616463451219</c:v>
                </c:pt>
                <c:pt idx="62">
                  <c:v>1765.7812696253266</c:v>
                </c:pt>
                <c:pt idx="63">
                  <c:v>1809.9727519734724</c:v>
                </c:pt>
                <c:pt idx="64">
                  <c:v>1855.1944574685019</c:v>
                </c:pt>
                <c:pt idx="65">
                  <c:v>1901.399172179066</c:v>
                </c:pt>
                <c:pt idx="66">
                  <c:v>1948.5344093068641</c:v>
                </c:pt>
                <c:pt idx="67">
                  <c:v>1996.5426508408027</c:v>
                </c:pt>
                <c:pt idx="68">
                  <c:v>2045.3615915976407</c:v>
                </c:pt>
                <c:pt idx="69">
                  <c:v>2094.924413803139</c:v>
                </c:pt>
                <c:pt idx="70">
                  <c:v>2145.1626062329583</c:v>
                </c:pt>
                <c:pt idx="71">
                  <c:v>2196.0057314640708</c:v>
                </c:pt>
                <c:pt idx="72">
                  <c:v>2247.3811548999088</c:v>
                </c:pt>
                <c:pt idx="73">
                  <c:v>2299.2141277425594</c:v>
                </c:pt>
                <c:pt idx="74">
                  <c:v>2351.4280623706186</c:v>
                </c:pt>
                <c:pt idx="75">
                  <c:v>2403.9449076765204</c:v>
                </c:pt>
                <c:pt idx="76">
                  <c:v>2456.6855657831225</c:v>
                </c:pt>
                <c:pt idx="77">
                  <c:v>2509.5703145646194</c:v>
                </c:pt>
                <c:pt idx="78">
                  <c:v>2562.5192233820667</c:v>
                </c:pt>
                <c:pt idx="79">
                  <c:v>2615.452537446818</c:v>
                </c:pt>
                <c:pt idx="80">
                  <c:v>2668.2910855180776</c:v>
                </c:pt>
                <c:pt idx="81">
                  <c:v>2720.9566839701342</c:v>
                </c:pt>
                <c:pt idx="82">
                  <c:v>2773.3725306554302</c:v>
                </c:pt>
                <c:pt idx="83">
                  <c:v>2825.4635926798378</c:v>
                </c:pt>
                <c:pt idx="84">
                  <c:v>2877.1569751853026</c:v>
                </c:pt>
                <c:pt idx="85">
                  <c:v>2928.3822692434442</c:v>
                </c:pt>
                <c:pt idx="86">
                  <c:v>2979.0718810119756</c:v>
                </c:pt>
                <c:pt idx="87">
                  <c:v>3029.1613195506216</c:v>
                </c:pt>
                <c:pt idx="88">
                  <c:v>3078.5894588238029</c:v>
                </c:pt>
                <c:pt idx="89">
                  <c:v>3127.298766072824</c:v>
                </c:pt>
                <c:pt idx="90">
                  <c:v>3175.2354963614439</c:v>
                </c:pt>
                <c:pt idx="91">
                  <c:v>3222.3498512016877</c:v>
                </c:pt>
                <c:pt idx="92">
                  <c:v>3268.5961008491613</c:v>
                </c:pt>
                <c:pt idx="93">
                  <c:v>3313.93267207517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50</c:v>
                </c:pt>
                <c:pt idx="1">
                  <c:v>93</c:v>
                </c:pt>
                <c:pt idx="2">
                  <c:v>161</c:v>
                </c:pt>
                <c:pt idx="3">
                  <c:v>194</c:v>
                </c:pt>
                <c:pt idx="4">
                  <c:v>241</c:v>
                </c:pt>
                <c:pt idx="5">
                  <c:v>302</c:v>
                </c:pt>
                <c:pt idx="6">
                  <c:v>349</c:v>
                </c:pt>
                <c:pt idx="7">
                  <c:v>416</c:v>
                </c:pt>
                <c:pt idx="8">
                  <c:v>471</c:v>
                </c:pt>
                <c:pt idx="9">
                  <c:v>507</c:v>
                </c:pt>
                <c:pt idx="10">
                  <c:v>541</c:v>
                </c:pt>
                <c:pt idx="11">
                  <c:v>570</c:v>
                </c:pt>
                <c:pt idx="12">
                  <c:v>612</c:v>
                </c:pt>
                <c:pt idx="13">
                  <c:v>664</c:v>
                </c:pt>
                <c:pt idx="14">
                  <c:v>704</c:v>
                </c:pt>
                <c:pt idx="15">
                  <c:v>743</c:v>
                </c:pt>
                <c:pt idx="16">
                  <c:v>783</c:v>
                </c:pt>
                <c:pt idx="17">
                  <c:v>810</c:v>
                </c:pt>
                <c:pt idx="18">
                  <c:v>831</c:v>
                </c:pt>
                <c:pt idx="19">
                  <c:v>859</c:v>
                </c:pt>
                <c:pt idx="20">
                  <c:v>880</c:v>
                </c:pt>
                <c:pt idx="21">
                  <c:v>900</c:v>
                </c:pt>
                <c:pt idx="22">
                  <c:v>920</c:v>
                </c:pt>
                <c:pt idx="23">
                  <c:v>929</c:v>
                </c:pt>
                <c:pt idx="24">
                  <c:v>939</c:v>
                </c:pt>
                <c:pt idx="25">
                  <c:v>955</c:v>
                </c:pt>
                <c:pt idx="26">
                  <c:v>968</c:v>
                </c:pt>
                <c:pt idx="27">
                  <c:v>995</c:v>
                </c:pt>
                <c:pt idx="28">
                  <c:v>1019</c:v>
                </c:pt>
                <c:pt idx="29">
                  <c:v>1035</c:v>
                </c:pt>
                <c:pt idx="30">
                  <c:v>1048</c:v>
                </c:pt>
                <c:pt idx="31">
                  <c:v>1059</c:v>
                </c:pt>
                <c:pt idx="32">
                  <c:v>1063</c:v>
                </c:pt>
                <c:pt idx="33">
                  <c:v>1072</c:v>
                </c:pt>
                <c:pt idx="34">
                  <c:v>1091</c:v>
                </c:pt>
                <c:pt idx="35">
                  <c:v>1107</c:v>
                </c:pt>
                <c:pt idx="36">
                  <c:v>1115</c:v>
                </c:pt>
                <c:pt idx="37">
                  <c:v>1128</c:v>
                </c:pt>
                <c:pt idx="38">
                  <c:v>1137</c:v>
                </c:pt>
                <c:pt idx="39">
                  <c:v>1144</c:v>
                </c:pt>
                <c:pt idx="40">
                  <c:v>1152</c:v>
                </c:pt>
                <c:pt idx="41">
                  <c:v>1156</c:v>
                </c:pt>
                <c:pt idx="42">
                  <c:v>1161</c:v>
                </c:pt>
                <c:pt idx="43">
                  <c:v>1170</c:v>
                </c:pt>
                <c:pt idx="44">
                  <c:v>1177</c:v>
                </c:pt>
                <c:pt idx="45">
                  <c:v>1180</c:v>
                </c:pt>
                <c:pt idx="46">
                  <c:v>1187</c:v>
                </c:pt>
                <c:pt idx="47">
                  <c:v>1196</c:v>
                </c:pt>
                <c:pt idx="48">
                  <c:v>1206</c:v>
                </c:pt>
                <c:pt idx="49">
                  <c:v>1223</c:v>
                </c:pt>
                <c:pt idx="50">
                  <c:v>1238</c:v>
                </c:pt>
                <c:pt idx="51">
                  <c:v>1245</c:v>
                </c:pt>
                <c:pt idx="52">
                  <c:v>1264</c:v>
                </c:pt>
                <c:pt idx="53">
                  <c:v>1281</c:v>
                </c:pt>
                <c:pt idx="54">
                  <c:v>1297</c:v>
                </c:pt>
                <c:pt idx="55">
                  <c:v>1315</c:v>
                </c:pt>
                <c:pt idx="56">
                  <c:v>1331</c:v>
                </c:pt>
                <c:pt idx="57">
                  <c:v>1355</c:v>
                </c:pt>
                <c:pt idx="58">
                  <c:v>1378</c:v>
                </c:pt>
                <c:pt idx="59">
                  <c:v>1393</c:v>
                </c:pt>
                <c:pt idx="60">
                  <c:v>1417</c:v>
                </c:pt>
                <c:pt idx="61">
                  <c:v>1439</c:v>
                </c:pt>
                <c:pt idx="62">
                  <c:v>1466</c:v>
                </c:pt>
                <c:pt idx="63">
                  <c:v>1500</c:v>
                </c:pt>
                <c:pt idx="64">
                  <c:v>1524</c:v>
                </c:pt>
                <c:pt idx="65">
                  <c:v>1552</c:v>
                </c:pt>
                <c:pt idx="66">
                  <c:v>1576</c:v>
                </c:pt>
                <c:pt idx="67">
                  <c:v>1601</c:v>
                </c:pt>
                <c:pt idx="68">
                  <c:v>1629</c:v>
                </c:pt>
                <c:pt idx="69">
                  <c:v>1679</c:v>
                </c:pt>
                <c:pt idx="70">
                  <c:v>1711</c:v>
                </c:pt>
                <c:pt idx="71">
                  <c:v>1750</c:v>
                </c:pt>
                <c:pt idx="72">
                  <c:v>1796</c:v>
                </c:pt>
                <c:pt idx="73">
                  <c:v>1821</c:v>
                </c:pt>
                <c:pt idx="74">
                  <c:v>1839</c:v>
                </c:pt>
                <c:pt idx="75">
                  <c:v>1875</c:v>
                </c:pt>
                <c:pt idx="76">
                  <c:v>1898</c:v>
                </c:pt>
                <c:pt idx="77">
                  <c:v>1929</c:v>
                </c:pt>
                <c:pt idx="78">
                  <c:v>1954</c:v>
                </c:pt>
                <c:pt idx="79">
                  <c:v>1975</c:v>
                </c:pt>
                <c:pt idx="80">
                  <c:v>1986</c:v>
                </c:pt>
                <c:pt idx="81">
                  <c:v>1999</c:v>
                </c:pt>
                <c:pt idx="82">
                  <c:v>2030</c:v>
                </c:pt>
                <c:pt idx="83">
                  <c:v>2055</c:v>
                </c:pt>
                <c:pt idx="84">
                  <c:v>2083</c:v>
                </c:pt>
                <c:pt idx="85">
                  <c:v>2100</c:v>
                </c:pt>
                <c:pt idx="86">
                  <c:v>2121</c:v>
                </c:pt>
                <c:pt idx="87">
                  <c:v>2134</c:v>
                </c:pt>
                <c:pt idx="88">
                  <c:v>2143</c:v>
                </c:pt>
                <c:pt idx="89">
                  <c:v>2163</c:v>
                </c:pt>
                <c:pt idx="90">
                  <c:v>2179</c:v>
                </c:pt>
                <c:pt idx="91">
                  <c:v>2192</c:v>
                </c:pt>
                <c:pt idx="92">
                  <c:v>2211</c:v>
                </c:pt>
                <c:pt idx="93">
                  <c:v>22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066.9701301936577</c:v>
                </c:pt>
                <c:pt idx="32">
                  <c:v>1088.0739166232427</c:v>
                </c:pt>
                <c:pt idx="33">
                  <c:v>1108.3354380570718</c:v>
                </c:pt>
                <c:pt idx="34">
                  <c:v>1127.7788532972088</c:v>
                </c:pt>
                <c:pt idx="35">
                  <c:v>1146.4283206935017</c:v>
                </c:pt>
                <c:pt idx="36">
                  <c:v>1164.3280929359448</c:v>
                </c:pt>
                <c:pt idx="37">
                  <c:v>1181.5005100232456</c:v>
                </c:pt>
                <c:pt idx="38">
                  <c:v>1197.9678199747673</c:v>
                </c:pt>
                <c:pt idx="39">
                  <c:v>1213.752126410812</c:v>
                </c:pt>
                <c:pt idx="40">
                  <c:v>1228.8753416106683</c:v>
                </c:pt>
                <c:pt idx="41">
                  <c:v>1243.5254492996546</c:v>
                </c:pt>
                <c:pt idx="42">
                  <c:v>1257.8425497501228</c:v>
                </c:pt>
                <c:pt idx="43">
                  <c:v>1271.9124032282316</c:v>
                </c:pt>
                <c:pt idx="44">
                  <c:v>1285.7900098627078</c:v>
                </c:pt>
                <c:pt idx="45">
                  <c:v>1299.5134571438043</c:v>
                </c:pt>
                <c:pt idx="46">
                  <c:v>1313.1117645151758</c:v>
                </c:pt>
                <c:pt idx="47">
                  <c:v>1326.6082820172162</c:v>
                </c:pt>
                <c:pt idx="48">
                  <c:v>1340.0218855468765</c:v>
                </c:pt>
                <c:pt idx="49">
                  <c:v>1353.3671775780228</c:v>
                </c:pt>
                <c:pt idx="50">
                  <c:v>1366.6532204111863</c:v>
                </c:pt>
                <c:pt idx="51">
                  <c:v>1379.885712398335</c:v>
                </c:pt>
                <c:pt idx="52">
                  <c:v>1393.0675805032943</c:v>
                </c:pt>
                <c:pt idx="53">
                  <c:v>1406.1993420584358</c:v>
                </c:pt>
                <c:pt idx="54">
                  <c:v>1419.2800201817815</c:v>
                </c:pt>
                <c:pt idx="55">
                  <c:v>1432.3074518157161</c:v>
                </c:pt>
                <c:pt idx="56">
                  <c:v>1445.278547215753</c:v>
                </c:pt>
                <c:pt idx="57">
                  <c:v>1458.1899658581353</c:v>
                </c:pt>
                <c:pt idx="58">
                  <c:v>1471.0375005991571</c:v>
                </c:pt>
                <c:pt idx="59">
                  <c:v>1483.8165773815037</c:v>
                </c:pt>
                <c:pt idx="60">
                  <c:v>1496.5223857550543</c:v>
                </c:pt>
                <c:pt idx="61">
                  <c:v>1509.1500649263062</c:v>
                </c:pt>
                <c:pt idx="62">
                  <c:v>1521.6948081661708</c:v>
                </c:pt>
                <c:pt idx="63">
                  <c:v>1534.1519113791051</c:v>
                </c:pt>
                <c:pt idx="64">
                  <c:v>1546.5168703174363</c:v>
                </c:pt>
                <c:pt idx="65">
                  <c:v>1558.7851713503737</c:v>
                </c:pt>
                <c:pt idx="66">
                  <c:v>1570.9523725710612</c:v>
                </c:pt>
                <c:pt idx="67">
                  <c:v>1583.0143804050738</c:v>
                </c:pt>
                <c:pt idx="68">
                  <c:v>1594.9672450286025</c:v>
                </c:pt>
                <c:pt idx="69">
                  <c:v>1606.8070269395409</c:v>
                </c:pt>
                <c:pt idx="70">
                  <c:v>1618.5305332413591</c:v>
                </c:pt>
                <c:pt idx="71">
                  <c:v>1630.1351242507824</c:v>
                </c:pt>
                <c:pt idx="72">
                  <c:v>1641.6183864427028</c:v>
                </c:pt>
                <c:pt idx="73">
                  <c:v>1652.9781381891898</c:v>
                </c:pt>
                <c:pt idx="74">
                  <c:v>1664.2124307672857</c:v>
                </c:pt>
                <c:pt idx="75">
                  <c:v>1675.3195469824698</c:v>
                </c:pt>
                <c:pt idx="76">
                  <c:v>1686.2979967226195</c:v>
                </c:pt>
                <c:pt idx="77">
                  <c:v>1697.1465070397342</c:v>
                </c:pt>
                <c:pt idx="78">
                  <c:v>1707.8640076600025</c:v>
                </c:pt>
                <c:pt idx="79">
                  <c:v>1718.4496090506125</c:v>
                </c:pt>
                <c:pt idx="80">
                  <c:v>1728.9025861139246</c:v>
                </c:pt>
                <c:pt idx="81">
                  <c:v>1739.2223632727998</c:v>
                </c:pt>
                <c:pt idx="82">
                  <c:v>1749.4085006406228</c:v>
                </c:pt>
                <c:pt idx="83">
                  <c:v>1759.4606828517549</c:v>
                </c:pt>
                <c:pt idx="84">
                  <c:v>1769.3787087336161</c:v>
                </c:pt>
                <c:pt idx="85">
                  <c:v>1779.1624824247676</c:v>
                </c:pt>
                <c:pt idx="86">
                  <c:v>1788.8120067908787</c:v>
                </c:pt>
                <c:pt idx="87">
                  <c:v>1798.3273751614365</c:v>
                </c:pt>
                <c:pt idx="88">
                  <c:v>1807.7087650341684</c:v>
                </c:pt>
                <c:pt idx="89">
                  <c:v>1816.9564324475061</c:v>
                </c:pt>
                <c:pt idx="90">
                  <c:v>1826.0707071949598</c:v>
                </c:pt>
                <c:pt idx="91">
                  <c:v>1835.0519885114898</c:v>
                </c:pt>
                <c:pt idx="92">
                  <c:v>1843.9007411943517</c:v>
                </c:pt>
                <c:pt idx="93">
                  <c:v>1852.61749247541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066.9701301936577</c:v>
                </c:pt>
                <c:pt idx="32">
                  <c:v>1088.0739166232427</c:v>
                </c:pt>
                <c:pt idx="33">
                  <c:v>1108.3354380570718</c:v>
                </c:pt>
                <c:pt idx="34">
                  <c:v>1128.0624133858748</c:v>
                </c:pt>
                <c:pt idx="35">
                  <c:v>1147.8219627869835</c:v>
                </c:pt>
                <c:pt idx="36">
                  <c:v>1167.8104045332111</c:v>
                </c:pt>
                <c:pt idx="37">
                  <c:v>1188.1145684912703</c:v>
                </c:pt>
                <c:pt idx="38">
                  <c:v>1208.8005427943058</c:v>
                </c:pt>
                <c:pt idx="39">
                  <c:v>1229.9250019607239</c:v>
                </c:pt>
                <c:pt idx="40">
                  <c:v>1251.5392893135861</c:v>
                </c:pt>
                <c:pt idx="41">
                  <c:v>1273.690420454486</c:v>
                </c:pt>
                <c:pt idx="42">
                  <c:v>1296.4207040458416</c:v>
                </c:pt>
                <c:pt idx="43">
                  <c:v>1319.7650916042489</c:v>
                </c:pt>
                <c:pt idx="44">
                  <c:v>1343.7542875495337</c:v>
                </c:pt>
                <c:pt idx="45">
                  <c:v>1368.4151611514831</c:v>
                </c:pt>
                <c:pt idx="46">
                  <c:v>1393.7708434108883</c:v>
                </c:pt>
                <c:pt idx="47">
                  <c:v>1419.8418337385879</c:v>
                </c:pt>
                <c:pt idx="48">
                  <c:v>1446.6461209136469</c:v>
                </c:pt>
                <c:pt idx="49">
                  <c:v>1474.1992205857521</c:v>
                </c:pt>
                <c:pt idx="50">
                  <c:v>1502.5149878467009</c:v>
                </c:pt>
                <c:pt idx="51">
                  <c:v>1531.6042764873366</c:v>
                </c:pt>
                <c:pt idx="52">
                  <c:v>1561.4755004774263</c:v>
                </c:pt>
                <c:pt idx="53">
                  <c:v>1592.1345763396716</c:v>
                </c:pt>
                <c:pt idx="54">
                  <c:v>1623.5849801126778</c:v>
                </c:pt>
                <c:pt idx="55">
                  <c:v>1655.82769573981</c:v>
                </c:pt>
                <c:pt idx="56">
                  <c:v>1688.861078798687</c:v>
                </c:pt>
                <c:pt idx="57">
                  <c:v>1722.6808107897002</c:v>
                </c:pt>
                <c:pt idx="58">
                  <c:v>1757.2793965537883</c:v>
                </c:pt>
                <c:pt idx="59">
                  <c:v>1792.6461550040103</c:v>
                </c:pt>
                <c:pt idx="60">
                  <c:v>1828.7675543212476</c:v>
                </c:pt>
                <c:pt idx="61">
                  <c:v>1865.6267709213894</c:v>
                </c:pt>
                <c:pt idx="62">
                  <c:v>1903.2033896509872</c:v>
                </c:pt>
                <c:pt idx="63">
                  <c:v>1941.4738041142373</c:v>
                </c:pt>
                <c:pt idx="64">
                  <c:v>1980.4110641035386</c:v>
                </c:pt>
                <c:pt idx="65">
                  <c:v>2019.9846088622451</c:v>
                </c:pt>
                <c:pt idx="66">
                  <c:v>2060.1604645986267</c:v>
                </c:pt>
                <c:pt idx="67">
                  <c:v>2100.9014009044186</c:v>
                </c:pt>
                <c:pt idx="68">
                  <c:v>2142.1670887180771</c:v>
                </c:pt>
                <c:pt idx="69">
                  <c:v>2183.914278056383</c:v>
                </c:pt>
                <c:pt idx="70">
                  <c:v>2226.0986227953235</c:v>
                </c:pt>
                <c:pt idx="71">
                  <c:v>2268.6745300159719</c:v>
                </c:pt>
                <c:pt idx="72">
                  <c:v>2311.594984607178</c:v>
                </c:pt>
                <c:pt idx="73">
                  <c:v>2354.8116029720341</c:v>
                </c:pt>
                <c:pt idx="74">
                  <c:v>2398.2748112751619</c:v>
                </c:pt>
                <c:pt idx="75">
                  <c:v>2441.934088392044</c:v>
                </c:pt>
                <c:pt idx="76">
                  <c:v>2485.7382356424241</c:v>
                </c:pt>
                <c:pt idx="77">
                  <c:v>2529.635650280738</c:v>
                </c:pt>
                <c:pt idx="78">
                  <c:v>2573.5745945944968</c:v>
                </c:pt>
                <c:pt idx="79">
                  <c:v>2617.5034446960494</c:v>
                </c:pt>
                <c:pt idx="80">
                  <c:v>2661.3709544181179</c:v>
                </c:pt>
                <c:pt idx="81">
                  <c:v>2705.126516859496</c:v>
                </c:pt>
                <c:pt idx="82">
                  <c:v>2748.7204193257589</c:v>
                </c:pt>
                <c:pt idx="83">
                  <c:v>2792.1040943294574</c:v>
                </c:pt>
                <c:pt idx="84">
                  <c:v>2835.2303582967079</c:v>
                </c:pt>
                <c:pt idx="85">
                  <c:v>2878.0536367526788</c:v>
                </c:pt>
                <c:pt idx="86">
                  <c:v>2920.5301773787951</c:v>
                </c:pt>
                <c:pt idx="87">
                  <c:v>2962.6182363110047</c:v>
                </c:pt>
                <c:pt idx="88">
                  <c:v>3004.2782477295359</c:v>
                </c:pt>
                <c:pt idx="89">
                  <c:v>3045.4729716802535</c:v>
                </c:pt>
                <c:pt idx="90">
                  <c:v>3086.1676200006245</c:v>
                </c:pt>
                <c:pt idx="91">
                  <c:v>3126.3299589954436</c:v>
                </c:pt>
                <c:pt idx="92">
                  <c:v>3165.9303885964641</c:v>
                </c:pt>
                <c:pt idx="93">
                  <c:v>3204.94199917576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066.9701301936577</c:v>
                </c:pt>
                <c:pt idx="32">
                  <c:v>1088.0739166232427</c:v>
                </c:pt>
                <c:pt idx="33">
                  <c:v>1108.3354380570718</c:v>
                </c:pt>
                <c:pt idx="34">
                  <c:v>1128.3459734745406</c:v>
                </c:pt>
                <c:pt idx="35">
                  <c:v>1148.5329993031294</c:v>
                </c:pt>
                <c:pt idx="36">
                  <c:v>1169.1778098219543</c:v>
                </c:pt>
                <c:pt idx="37">
                  <c:v>1190.4540647644505</c:v>
                </c:pt>
                <c:pt idx="38">
                  <c:v>1212.493940396891</c:v>
                </c:pt>
                <c:pt idx="39">
                  <c:v>1235.4107857561009</c:v>
                </c:pt>
                <c:pt idx="40">
                  <c:v>1259.3072874881989</c:v>
                </c:pt>
                <c:pt idx="41">
                  <c:v>1284.2774767963724</c:v>
                </c:pt>
                <c:pt idx="42">
                  <c:v>1310.4059710054573</c:v>
                </c:pt>
                <c:pt idx="43">
                  <c:v>1337.7626731486455</c:v>
                </c:pt>
                <c:pt idx="44">
                  <c:v>1366.4089920655908</c:v>
                </c:pt>
                <c:pt idx="45">
                  <c:v>1396.3986662958653</c:v>
                </c:pt>
                <c:pt idx="46">
                  <c:v>1427.7779578410452</c:v>
                </c:pt>
                <c:pt idx="47">
                  <c:v>1460.5878655228178</c:v>
                </c:pt>
                <c:pt idx="48">
                  <c:v>1494.8643668993093</c:v>
                </c:pt>
                <c:pt idx="49">
                  <c:v>1530.6384932698973</c:v>
                </c:pt>
                <c:pt idx="50">
                  <c:v>1567.9379548181685</c:v>
                </c:pt>
                <c:pt idx="51">
                  <c:v>1606.7844591258113</c:v>
                </c:pt>
                <c:pt idx="52">
                  <c:v>1647.1948341323621</c:v>
                </c:pt>
                <c:pt idx="53">
                  <c:v>1689.1809128832283</c:v>
                </c:pt>
                <c:pt idx="54">
                  <c:v>1732.7496474556124</c:v>
                </c:pt>
                <c:pt idx="55">
                  <c:v>1777.9030057362522</c:v>
                </c:pt>
                <c:pt idx="56">
                  <c:v>1824.63769888038</c:v>
                </c:pt>
                <c:pt idx="57">
                  <c:v>1872.9450898887778</c:v>
                </c:pt>
                <c:pt idx="58">
                  <c:v>1922.8101884433297</c:v>
                </c:pt>
                <c:pt idx="59">
                  <c:v>1974.2116323701475</c:v>
                </c:pt>
                <c:pt idx="60">
                  <c:v>2027.1223580309957</c:v>
                </c:pt>
                <c:pt idx="61">
                  <c:v>2081.5087182576526</c:v>
                </c:pt>
                <c:pt idx="62">
                  <c:v>2137.3298827432222</c:v>
                </c:pt>
                <c:pt idx="63">
                  <c:v>2194.5386386960936</c:v>
                </c:pt>
                <c:pt idx="64">
                  <c:v>2253.081085701072</c:v>
                </c:pt>
                <c:pt idx="65">
                  <c:v>2312.8961022448566</c:v>
                </c:pt>
                <c:pt idx="66">
                  <c:v>2373.9157407439952</c:v>
                </c:pt>
                <c:pt idx="67">
                  <c:v>2436.0655403819528</c:v>
                </c:pt>
                <c:pt idx="68">
                  <c:v>2499.2648430356417</c:v>
                </c:pt>
                <c:pt idx="69">
                  <c:v>2563.4271487386291</c:v>
                </c:pt>
                <c:pt idx="70">
                  <c:v>2628.4637652428842</c:v>
                </c:pt>
                <c:pt idx="71">
                  <c:v>2694.2835067105525</c:v>
                </c:pt>
                <c:pt idx="72">
                  <c:v>2760.7923429193384</c:v>
                </c:pt>
                <c:pt idx="73">
                  <c:v>2827.893506675422</c:v>
                </c:pt>
                <c:pt idx="74">
                  <c:v>2895.4878503080508</c:v>
                </c:pt>
                <c:pt idx="75">
                  <c:v>2963.4743315681908</c:v>
                </c:pt>
                <c:pt idx="76">
                  <c:v>3031.7505530953244</c:v>
                </c:pt>
                <c:pt idx="77">
                  <c:v>3100.2133093983275</c:v>
                </c:pt>
                <c:pt idx="78">
                  <c:v>3168.7591250522182</c:v>
                </c:pt>
                <c:pt idx="79">
                  <c:v>3237.2847522816951</c:v>
                </c:pt>
                <c:pt idx="80">
                  <c:v>3305.687698752206</c:v>
                </c:pt>
                <c:pt idx="81">
                  <c:v>3373.8667506613356</c:v>
                </c:pt>
                <c:pt idx="82">
                  <c:v>3441.7224826202346</c:v>
                </c:pt>
                <c:pt idx="83">
                  <c:v>3509.1577596540055</c:v>
                </c:pt>
                <c:pt idx="84">
                  <c:v>3576.0782146148845</c:v>
                </c:pt>
                <c:pt idx="85">
                  <c:v>3642.3926985531962</c:v>
                </c:pt>
                <c:pt idx="86">
                  <c:v>3708.0137068318058</c:v>
                </c:pt>
                <c:pt idx="87">
                  <c:v>3772.8577517225963</c:v>
                </c:pt>
                <c:pt idx="88">
                  <c:v>3836.8457015860299</c:v>
                </c:pt>
                <c:pt idx="89">
                  <c:v>3899.9030765138391</c:v>
                </c:pt>
                <c:pt idx="90">
                  <c:v>3961.9603001809546</c:v>
                </c:pt>
                <c:pt idx="91">
                  <c:v>4022.9529051969662</c:v>
                </c:pt>
                <c:pt idx="92">
                  <c:v>4082.8216914253808</c:v>
                </c:pt>
                <c:pt idx="93">
                  <c:v>4141.51283961035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480</c:v>
                </c:pt>
                <c:pt idx="1">
                  <c:v>486</c:v>
                </c:pt>
                <c:pt idx="2">
                  <c:v>474</c:v>
                </c:pt>
                <c:pt idx="3">
                  <c:v>462</c:v>
                </c:pt>
                <c:pt idx="4">
                  <c:v>481</c:v>
                </c:pt>
                <c:pt idx="5">
                  <c:v>561</c:v>
                </c:pt>
                <c:pt idx="6">
                  <c:v>532</c:v>
                </c:pt>
                <c:pt idx="7">
                  <c:v>540</c:v>
                </c:pt>
                <c:pt idx="8">
                  <c:v>541</c:v>
                </c:pt>
                <c:pt idx="9">
                  <c:v>520</c:v>
                </c:pt>
                <c:pt idx="10">
                  <c:v>463</c:v>
                </c:pt>
                <c:pt idx="11">
                  <c:v>474</c:v>
                </c:pt>
                <c:pt idx="12">
                  <c:v>507</c:v>
                </c:pt>
                <c:pt idx="13">
                  <c:v>484</c:v>
                </c:pt>
                <c:pt idx="14">
                  <c:v>455</c:v>
                </c:pt>
                <c:pt idx="15">
                  <c:v>451</c:v>
                </c:pt>
                <c:pt idx="16">
                  <c:v>427</c:v>
                </c:pt>
                <c:pt idx="17">
                  <c:v>390</c:v>
                </c:pt>
                <c:pt idx="18">
                  <c:v>385</c:v>
                </c:pt>
                <c:pt idx="19">
                  <c:v>404</c:v>
                </c:pt>
                <c:pt idx="20">
                  <c:v>384</c:v>
                </c:pt>
                <c:pt idx="21">
                  <c:v>364</c:v>
                </c:pt>
                <c:pt idx="22">
                  <c:v>322</c:v>
                </c:pt>
                <c:pt idx="23">
                  <c:v>283</c:v>
                </c:pt>
                <c:pt idx="24">
                  <c:v>259</c:v>
                </c:pt>
                <c:pt idx="25">
                  <c:v>275</c:v>
                </c:pt>
                <c:pt idx="26">
                  <c:v>313</c:v>
                </c:pt>
                <c:pt idx="27">
                  <c:v>300</c:v>
                </c:pt>
                <c:pt idx="28">
                  <c:v>282</c:v>
                </c:pt>
                <c:pt idx="29">
                  <c:v>258</c:v>
                </c:pt>
                <c:pt idx="30">
                  <c:v>253</c:v>
                </c:pt>
                <c:pt idx="31">
                  <c:v>231</c:v>
                </c:pt>
                <c:pt idx="32">
                  <c:v>230</c:v>
                </c:pt>
                <c:pt idx="33">
                  <c:v>239</c:v>
                </c:pt>
                <c:pt idx="34">
                  <c:v>226</c:v>
                </c:pt>
                <c:pt idx="35">
                  <c:v>218</c:v>
                </c:pt>
                <c:pt idx="36">
                  <c:v>218</c:v>
                </c:pt>
                <c:pt idx="37">
                  <c:v>201</c:v>
                </c:pt>
                <c:pt idx="38">
                  <c:v>181</c:v>
                </c:pt>
                <c:pt idx="39">
                  <c:v>186</c:v>
                </c:pt>
                <c:pt idx="40">
                  <c:v>198</c:v>
                </c:pt>
                <c:pt idx="41">
                  <c:v>172</c:v>
                </c:pt>
                <c:pt idx="42">
                  <c:v>162</c:v>
                </c:pt>
                <c:pt idx="43">
                  <c:v>154</c:v>
                </c:pt>
                <c:pt idx="44">
                  <c:v>141</c:v>
                </c:pt>
                <c:pt idx="45">
                  <c:v>132</c:v>
                </c:pt>
                <c:pt idx="46">
                  <c:v>133</c:v>
                </c:pt>
                <c:pt idx="47">
                  <c:v>154</c:v>
                </c:pt>
                <c:pt idx="48">
                  <c:v>141</c:v>
                </c:pt>
                <c:pt idx="49">
                  <c:v>134</c:v>
                </c:pt>
                <c:pt idx="50">
                  <c:v>130</c:v>
                </c:pt>
                <c:pt idx="51">
                  <c:v>123</c:v>
                </c:pt>
                <c:pt idx="52">
                  <c:v>107</c:v>
                </c:pt>
                <c:pt idx="53">
                  <c:v>120</c:v>
                </c:pt>
                <c:pt idx="54">
                  <c:v>162</c:v>
                </c:pt>
                <c:pt idx="55">
                  <c:v>146</c:v>
                </c:pt>
                <c:pt idx="56">
                  <c:v>159</c:v>
                </c:pt>
                <c:pt idx="57">
                  <c:v>169</c:v>
                </c:pt>
                <c:pt idx="58">
                  <c:v>192</c:v>
                </c:pt>
                <c:pt idx="59">
                  <c:v>164</c:v>
                </c:pt>
                <c:pt idx="60">
                  <c:v>180</c:v>
                </c:pt>
                <c:pt idx="61">
                  <c:v>255</c:v>
                </c:pt>
                <c:pt idx="62">
                  <c:v>258</c:v>
                </c:pt>
                <c:pt idx="63">
                  <c:v>267</c:v>
                </c:pt>
                <c:pt idx="64">
                  <c:v>282</c:v>
                </c:pt>
                <c:pt idx="65">
                  <c:v>288</c:v>
                </c:pt>
                <c:pt idx="66">
                  <c:v>266</c:v>
                </c:pt>
                <c:pt idx="67">
                  <c:v>271</c:v>
                </c:pt>
                <c:pt idx="68">
                  <c:v>312</c:v>
                </c:pt>
                <c:pt idx="69">
                  <c:v>304</c:v>
                </c:pt>
                <c:pt idx="70">
                  <c:v>296</c:v>
                </c:pt>
                <c:pt idx="71">
                  <c:v>319</c:v>
                </c:pt>
                <c:pt idx="72">
                  <c:v>339</c:v>
                </c:pt>
                <c:pt idx="73">
                  <c:v>291</c:v>
                </c:pt>
                <c:pt idx="74">
                  <c:v>301</c:v>
                </c:pt>
                <c:pt idx="75">
                  <c:v>347</c:v>
                </c:pt>
                <c:pt idx="76">
                  <c:v>329</c:v>
                </c:pt>
                <c:pt idx="77">
                  <c:v>310</c:v>
                </c:pt>
                <c:pt idx="78">
                  <c:v>304</c:v>
                </c:pt>
                <c:pt idx="79">
                  <c:v>294</c:v>
                </c:pt>
                <c:pt idx="80">
                  <c:v>260</c:v>
                </c:pt>
                <c:pt idx="81">
                  <c:v>268</c:v>
                </c:pt>
                <c:pt idx="82">
                  <c:v>288</c:v>
                </c:pt>
                <c:pt idx="83">
                  <c:v>271</c:v>
                </c:pt>
                <c:pt idx="84">
                  <c:v>232</c:v>
                </c:pt>
                <c:pt idx="85">
                  <c:v>231</c:v>
                </c:pt>
                <c:pt idx="86">
                  <c:v>219</c:v>
                </c:pt>
                <c:pt idx="87">
                  <c:v>192</c:v>
                </c:pt>
                <c:pt idx="88">
                  <c:v>199</c:v>
                </c:pt>
                <c:pt idx="89">
                  <c:v>227</c:v>
                </c:pt>
                <c:pt idx="90">
                  <c:v>193</c:v>
                </c:pt>
                <c:pt idx="91">
                  <c:v>178</c:v>
                </c:pt>
                <c:pt idx="92">
                  <c:v>161</c:v>
                </c:pt>
                <c:pt idx="93">
                  <c:v>1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64.57350018994339</c:v>
                </c:pt>
                <c:pt idx="32">
                  <c:v>255.31615395982305</c:v>
                </c:pt>
                <c:pt idx="33">
                  <c:v>246.23040970912163</c:v>
                </c:pt>
                <c:pt idx="34">
                  <c:v>237.32394014460957</c:v>
                </c:pt>
                <c:pt idx="35">
                  <c:v>228.60328034231594</c:v>
                </c:pt>
                <c:pt idx="36">
                  <c:v>220.32210598737691</c:v>
                </c:pt>
                <c:pt idx="37">
                  <c:v>212.21874179592072</c:v>
                </c:pt>
                <c:pt idx="38">
                  <c:v>204.29767921416433</c:v>
                </c:pt>
                <c:pt idx="39">
                  <c:v>196.56264811016968</c:v>
                </c:pt>
                <c:pt idx="40">
                  <c:v>189.01687874126651</c:v>
                </c:pt>
                <c:pt idx="41">
                  <c:v>181.80876420416141</c:v>
                </c:pt>
                <c:pt idx="42">
                  <c:v>175.03871092173375</c:v>
                </c:pt>
                <c:pt idx="43">
                  <c:v>168.7542549453037</c:v>
                </c:pt>
                <c:pt idx="44">
                  <c:v>162.97066735550123</c:v>
                </c:pt>
                <c:pt idx="45">
                  <c:v>157.68535028603603</c:v>
                </c:pt>
                <c:pt idx="46">
                  <c:v>152.88592274878712</c:v>
                </c:pt>
                <c:pt idx="47">
                  <c:v>148.55447646851309</c:v>
                </c:pt>
                <c:pt idx="48">
                  <c:v>144.66835854248492</c:v>
                </c:pt>
                <c:pt idx="49">
                  <c:v>141.20119875379663</c:v>
                </c:pt>
                <c:pt idx="50">
                  <c:v>138.12307020088005</c:v>
                </c:pt>
                <c:pt idx="51">
                  <c:v>135.4033163789326</c:v>
                </c:pt>
                <c:pt idx="52">
                  <c:v>133.01018437829853</c:v>
                </c:pt>
                <c:pt idx="53">
                  <c:v>130.91241284822556</c:v>
                </c:pt>
                <c:pt idx="54">
                  <c:v>129.08023182401311</c:v>
                </c:pt>
                <c:pt idx="55">
                  <c:v>127.48220854596131</c:v>
                </c:pt>
                <c:pt idx="56">
                  <c:v>126.08126976950734</c:v>
                </c:pt>
                <c:pt idx="57">
                  <c:v>124.84058766267238</c:v>
                </c:pt>
                <c:pt idx="58">
                  <c:v>123.72828219589019</c:v>
                </c:pt>
                <c:pt idx="59">
                  <c:v>122.71753010252853</c:v>
                </c:pt>
                <c:pt idx="60">
                  <c:v>121.78560516874369</c:v>
                </c:pt>
                <c:pt idx="61">
                  <c:v>120.91320928347744</c:v>
                </c:pt>
                <c:pt idx="62">
                  <c:v>120.0837058702764</c:v>
                </c:pt>
                <c:pt idx="63">
                  <c:v>119.28176786272064</c:v>
                </c:pt>
                <c:pt idx="64">
                  <c:v>118.49402723386942</c:v>
                </c:pt>
                <c:pt idx="65">
                  <c:v>117.70959864034523</c:v>
                </c:pt>
                <c:pt idx="66">
                  <c:v>116.91952925505328</c:v>
                </c:pt>
                <c:pt idx="67">
                  <c:v>116.11696489583322</c:v>
                </c:pt>
                <c:pt idx="68">
                  <c:v>115.29668732183808</c:v>
                </c:pt>
                <c:pt idx="69">
                  <c:v>114.4547541832244</c:v>
                </c:pt>
                <c:pt idx="70">
                  <c:v>113.58847323113719</c:v>
                </c:pt>
                <c:pt idx="71">
                  <c:v>112.69615317494636</c:v>
                </c:pt>
                <c:pt idx="72">
                  <c:v>111.77691524135653</c:v>
                </c:pt>
                <c:pt idx="73">
                  <c:v>110.83042121970279</c:v>
                </c:pt>
                <c:pt idx="74">
                  <c:v>109.85684189781234</c:v>
                </c:pt>
                <c:pt idx="75">
                  <c:v>108.85692370651964</c:v>
                </c:pt>
                <c:pt idx="76">
                  <c:v>107.8318232479255</c:v>
                </c:pt>
                <c:pt idx="77">
                  <c:v>106.7829094282579</c:v>
                </c:pt>
                <c:pt idx="78">
                  <c:v>105.71152058398545</c:v>
                </c:pt>
                <c:pt idx="79">
                  <c:v>104.61901661659996</c:v>
                </c:pt>
                <c:pt idx="80">
                  <c:v>103.50671267280356</c:v>
                </c:pt>
                <c:pt idx="81">
                  <c:v>102.37611215346742</c:v>
                </c:pt>
                <c:pt idx="82">
                  <c:v>101.22883865506694</c:v>
                </c:pt>
                <c:pt idx="83">
                  <c:v>100.06650667822835</c:v>
                </c:pt>
                <c:pt idx="84">
                  <c:v>98.89073700056403</c:v>
                </c:pt>
                <c:pt idx="85">
                  <c:v>97.703105616140036</c:v>
                </c:pt>
                <c:pt idx="86">
                  <c:v>96.505121633236485</c:v>
                </c:pt>
                <c:pt idx="87">
                  <c:v>95.298225658588706</c:v>
                </c:pt>
                <c:pt idx="88">
                  <c:v>94.083789458279952</c:v>
                </c:pt>
                <c:pt idx="89">
                  <c:v>92.863060547587153</c:v>
                </c:pt>
                <c:pt idx="90">
                  <c:v>91.637229413208445</c:v>
                </c:pt>
                <c:pt idx="91">
                  <c:v>90.407435031572518</c:v>
                </c:pt>
                <c:pt idx="92">
                  <c:v>89.174755721939107</c:v>
                </c:pt>
                <c:pt idx="93">
                  <c:v>87.9402048369063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64.57350018994339</c:v>
                </c:pt>
                <c:pt idx="32">
                  <c:v>255.31615395982305</c:v>
                </c:pt>
                <c:pt idx="33">
                  <c:v>246.23040970912163</c:v>
                </c:pt>
                <c:pt idx="34">
                  <c:v>237.8215698373219</c:v>
                </c:pt>
                <c:pt idx="35">
                  <c:v>230.4308533809583</c:v>
                </c:pt>
                <c:pt idx="36">
                  <c:v>224.48608349586041</c:v>
                </c:pt>
                <c:pt idx="37">
                  <c:v>219.80544842219138</c:v>
                </c:pt>
                <c:pt idx="38">
                  <c:v>216.426685491363</c:v>
                </c:pt>
                <c:pt idx="39">
                  <c:v>213.04792256053463</c:v>
                </c:pt>
                <c:pt idx="40">
                  <c:v>212.67272201141478</c:v>
                </c:pt>
                <c:pt idx="41">
                  <c:v>212.94679782930345</c:v>
                </c:pt>
                <c:pt idx="42">
                  <c:v>213.85651036813866</c:v>
                </c:pt>
                <c:pt idx="43">
                  <c:v>215.38179206571971</c:v>
                </c:pt>
                <c:pt idx="44">
                  <c:v>217.5003344170031</c:v>
                </c:pt>
                <c:pt idx="45">
                  <c:v>220.18637419784849</c:v>
                </c:pt>
                <c:pt idx="46">
                  <c:v>223.41302033195058</c:v>
                </c:pt>
                <c:pt idx="47">
                  <c:v>227.15363369322898</c:v>
                </c:pt>
                <c:pt idx="48">
                  <c:v>231.37619904474619</c:v>
                </c:pt>
                <c:pt idx="49">
                  <c:v>236.03627423430893</c:v>
                </c:pt>
                <c:pt idx="50">
                  <c:v>241.08683463447304</c:v>
                </c:pt>
                <c:pt idx="51">
                  <c:v>246.48589746248663</c:v>
                </c:pt>
                <c:pt idx="52">
                  <c:v>252.19639648445937</c:v>
                </c:pt>
                <c:pt idx="53">
                  <c:v>258.1845313953911</c:v>
                </c:pt>
                <c:pt idx="54">
                  <c:v>264.41877897676261</c:v>
                </c:pt>
                <c:pt idx="55">
                  <c:v>270.86877638270545</c:v>
                </c:pt>
                <c:pt idx="56">
                  <c:v>277.50320403545066</c:v>
                </c:pt>
                <c:pt idx="57">
                  <c:v>284.29104995366021</c:v>
                </c:pt>
                <c:pt idx="58">
                  <c:v>291.20263462891677</c:v>
                </c:pt>
                <c:pt idx="59">
                  <c:v>298.20878248663655</c:v>
                </c:pt>
                <c:pt idx="60">
                  <c:v>305.28130648766029</c:v>
                </c:pt>
                <c:pt idx="61">
                  <c:v>312.39241878658305</c:v>
                </c:pt>
                <c:pt idx="62">
                  <c:v>319.5143327412876</c:v>
                </c:pt>
                <c:pt idx="63">
                  <c:v>326.61872504577548</c:v>
                </c:pt>
                <c:pt idx="64">
                  <c:v>333.67674103659249</c:v>
                </c:pt>
                <c:pt idx="65">
                  <c:v>340.65917439939125</c:v>
                </c:pt>
                <c:pt idx="66">
                  <c:v>347.53636061178076</c:v>
                </c:pt>
                <c:pt idx="67">
                  <c:v>354.27843924423451</c:v>
                </c:pt>
                <c:pt idx="68">
                  <c:v>360.8557695692034</c:v>
                </c:pt>
                <c:pt idx="69">
                  <c:v>367.23894035675016</c:v>
                </c:pt>
                <c:pt idx="70">
                  <c:v>373.40016987619862</c:v>
                </c:pt>
                <c:pt idx="71">
                  <c:v>379.31280382594394</c:v>
                </c:pt>
                <c:pt idx="72">
                  <c:v>384.9512871874129</c:v>
                </c:pt>
                <c:pt idx="73">
                  <c:v>390.2910781076485</c:v>
                </c:pt>
                <c:pt idx="74">
                  <c:v>395.30918733716248</c:v>
                </c:pt>
                <c:pt idx="75">
                  <c:v>399.98422887029005</c:v>
                </c:pt>
                <c:pt idx="76">
                  <c:v>404.29638789831461</c:v>
                </c:pt>
                <c:pt idx="77">
                  <c:v>408.22762101014308</c:v>
                </c:pt>
                <c:pt idx="78">
                  <c:v>411.76174520744985</c:v>
                </c:pt>
                <c:pt idx="79">
                  <c:v>414.88452415881522</c:v>
                </c:pt>
                <c:pt idx="80">
                  <c:v>417.58377038661877</c:v>
                </c:pt>
                <c:pt idx="81">
                  <c:v>419.84942076214514</c:v>
                </c:pt>
                <c:pt idx="82">
                  <c:v>421.67351641506735</c:v>
                </c:pt>
                <c:pt idx="83">
                  <c:v>423.05036814416377</c:v>
                </c:pt>
                <c:pt idx="84">
                  <c:v>423.97656722443281</c:v>
                </c:pt>
                <c:pt idx="85">
                  <c:v>424.4509178027418</c:v>
                </c:pt>
                <c:pt idx="86">
                  <c:v>424.47440231213238</c:v>
                </c:pt>
                <c:pt idx="87">
                  <c:v>424.0501758746089</c:v>
                </c:pt>
                <c:pt idx="88">
                  <c:v>423.183537602017</c:v>
                </c:pt>
                <c:pt idx="89">
                  <c:v>421.88187939426325</c:v>
                </c:pt>
                <c:pt idx="90">
                  <c:v>420.15461076196982</c:v>
                </c:pt>
                <c:pt idx="91">
                  <c:v>418.01306183217451</c:v>
                </c:pt>
                <c:pt idx="92">
                  <c:v>415.47035364394719</c:v>
                </c:pt>
                <c:pt idx="93">
                  <c:v>412.541264813067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64.57350018994339</c:v>
                </c:pt>
                <c:pt idx="32">
                  <c:v>255.31615395982305</c:v>
                </c:pt>
                <c:pt idx="33">
                  <c:v>246.23040970912163</c:v>
                </c:pt>
                <c:pt idx="34">
                  <c:v>237.8215698373219</c:v>
                </c:pt>
                <c:pt idx="35">
                  <c:v>230.4308533809583</c:v>
                </c:pt>
                <c:pt idx="36">
                  <c:v>224.48608349586041</c:v>
                </c:pt>
                <c:pt idx="37">
                  <c:v>219.80544842219138</c:v>
                </c:pt>
                <c:pt idx="38">
                  <c:v>216.426685491363</c:v>
                </c:pt>
                <c:pt idx="39">
                  <c:v>214.3626501603573</c:v>
                </c:pt>
                <c:pt idx="40">
                  <c:v>213.61224906211763</c:v>
                </c:pt>
                <c:pt idx="41">
                  <c:v>214.16040069789491</c:v>
                </c:pt>
                <c:pt idx="42">
                  <c:v>215.97982577556536</c:v>
                </c:pt>
                <c:pt idx="43">
                  <c:v>219.03038917072752</c:v>
                </c:pt>
                <c:pt idx="44">
                  <c:v>223.26747387329422</c:v>
                </c:pt>
                <c:pt idx="45">
                  <c:v>228.63955343498503</c:v>
                </c:pt>
                <c:pt idx="46">
                  <c:v>235.0928457031892</c:v>
                </c:pt>
                <c:pt idx="47">
                  <c:v>242.5740724257461</c:v>
                </c:pt>
                <c:pt idx="48">
                  <c:v>251.0192031287805</c:v>
                </c:pt>
                <c:pt idx="49">
                  <c:v>260.33935350790597</c:v>
                </c:pt>
                <c:pt idx="50">
                  <c:v>270.44047430823417</c:v>
                </c:pt>
                <c:pt idx="51">
                  <c:v>281.23859996426143</c:v>
                </c:pt>
                <c:pt idx="52">
                  <c:v>292.65959800820673</c:v>
                </c:pt>
                <c:pt idx="53">
                  <c:v>304.63586783007025</c:v>
                </c:pt>
                <c:pt idx="54">
                  <c:v>317.10436299281332</c:v>
                </c:pt>
                <c:pt idx="55">
                  <c:v>330.00435780469894</c:v>
                </c:pt>
                <c:pt idx="56">
                  <c:v>343.27321311018932</c:v>
                </c:pt>
                <c:pt idx="57">
                  <c:v>356.84890494660851</c:v>
                </c:pt>
                <c:pt idx="58">
                  <c:v>370.67207429712153</c:v>
                </c:pt>
                <c:pt idx="59">
                  <c:v>384.6843700125612</c:v>
                </c:pt>
                <c:pt idx="60">
                  <c:v>398.82941801460868</c:v>
                </c:pt>
                <c:pt idx="61">
                  <c:v>413.05164261245409</c:v>
                </c:pt>
                <c:pt idx="62">
                  <c:v>427.29547052186331</c:v>
                </c:pt>
                <c:pt idx="63">
                  <c:v>441.50425513083906</c:v>
                </c:pt>
                <c:pt idx="64">
                  <c:v>455.62028711247308</c:v>
                </c:pt>
                <c:pt idx="65">
                  <c:v>469.58515383807043</c:v>
                </c:pt>
                <c:pt idx="66">
                  <c:v>483.33952626284957</c:v>
                </c:pt>
                <c:pt idx="67">
                  <c:v>496.82368352775694</c:v>
                </c:pt>
                <c:pt idx="68">
                  <c:v>509.97834417769491</c:v>
                </c:pt>
                <c:pt idx="69">
                  <c:v>522.7446857527882</c:v>
                </c:pt>
                <c:pt idx="70">
                  <c:v>535.06714479168522</c:v>
                </c:pt>
                <c:pt idx="71">
                  <c:v>546.89241269117599</c:v>
                </c:pt>
                <c:pt idx="72">
                  <c:v>558.16937941411391</c:v>
                </c:pt>
                <c:pt idx="73">
                  <c:v>568.84896125458499</c:v>
                </c:pt>
                <c:pt idx="74">
                  <c:v>578.88517971361296</c:v>
                </c:pt>
                <c:pt idx="75">
                  <c:v>588.23526277986832</c:v>
                </c:pt>
                <c:pt idx="76">
                  <c:v>596.85958083591731</c:v>
                </c:pt>
                <c:pt idx="77">
                  <c:v>604.72204705957392</c:v>
                </c:pt>
                <c:pt idx="78">
                  <c:v>611.79029545418769</c:v>
                </c:pt>
                <c:pt idx="79">
                  <c:v>618.03585335691832</c:v>
                </c:pt>
                <c:pt idx="80">
                  <c:v>623.43434581252563</c:v>
                </c:pt>
                <c:pt idx="81">
                  <c:v>627.96564656357828</c:v>
                </c:pt>
                <c:pt idx="82">
                  <c:v>631.61383786942258</c:v>
                </c:pt>
                <c:pt idx="83">
                  <c:v>634.36754132761553</c:v>
                </c:pt>
                <c:pt idx="84">
                  <c:v>636.21993948815361</c:v>
                </c:pt>
                <c:pt idx="85">
                  <c:v>637.1686406447717</c:v>
                </c:pt>
                <c:pt idx="86">
                  <c:v>637.21560966355275</c:v>
                </c:pt>
                <c:pt idx="87">
                  <c:v>636.36715678850578</c:v>
                </c:pt>
                <c:pt idx="88">
                  <c:v>634.63388024332176</c:v>
                </c:pt>
                <c:pt idx="89">
                  <c:v>632.03056382781449</c:v>
                </c:pt>
                <c:pt idx="90">
                  <c:v>628.57602656322774</c:v>
                </c:pt>
                <c:pt idx="91">
                  <c:v>624.2929287036369</c:v>
                </c:pt>
                <c:pt idx="92">
                  <c:v>619.20751232718226</c:v>
                </c:pt>
                <c:pt idx="93">
                  <c:v>613.34933466542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113</c:v>
                </c:pt>
                <c:pt idx="1">
                  <c:v>226</c:v>
                </c:pt>
                <c:pt idx="2">
                  <c:v>323</c:v>
                </c:pt>
                <c:pt idx="3">
                  <c:v>392</c:v>
                </c:pt>
                <c:pt idx="4">
                  <c:v>451</c:v>
                </c:pt>
                <c:pt idx="5">
                  <c:v>561</c:v>
                </c:pt>
                <c:pt idx="6">
                  <c:v>662</c:v>
                </c:pt>
                <c:pt idx="7">
                  <c:v>778</c:v>
                </c:pt>
                <c:pt idx="8">
                  <c:v>859</c:v>
                </c:pt>
                <c:pt idx="9">
                  <c:v>960</c:v>
                </c:pt>
                <c:pt idx="10">
                  <c:v>1023</c:v>
                </c:pt>
                <c:pt idx="11">
                  <c:v>1076</c:v>
                </c:pt>
                <c:pt idx="12">
                  <c:v>1147</c:v>
                </c:pt>
                <c:pt idx="13">
                  <c:v>1219</c:v>
                </c:pt>
                <c:pt idx="14">
                  <c:v>1280</c:v>
                </c:pt>
                <c:pt idx="15">
                  <c:v>1363</c:v>
                </c:pt>
                <c:pt idx="16">
                  <c:v>1426</c:v>
                </c:pt>
                <c:pt idx="17">
                  <c:v>1463</c:v>
                </c:pt>
                <c:pt idx="18">
                  <c:v>1499</c:v>
                </c:pt>
                <c:pt idx="19">
                  <c:v>1574</c:v>
                </c:pt>
                <c:pt idx="20">
                  <c:v>1644</c:v>
                </c:pt>
                <c:pt idx="21">
                  <c:v>1688</c:v>
                </c:pt>
                <c:pt idx="22">
                  <c:v>1741</c:v>
                </c:pt>
                <c:pt idx="23">
                  <c:v>1773</c:v>
                </c:pt>
                <c:pt idx="24">
                  <c:v>1802</c:v>
                </c:pt>
                <c:pt idx="25">
                  <c:v>1833</c:v>
                </c:pt>
                <c:pt idx="26">
                  <c:v>1896</c:v>
                </c:pt>
                <c:pt idx="27">
                  <c:v>1937</c:v>
                </c:pt>
                <c:pt idx="28">
                  <c:v>1991</c:v>
                </c:pt>
                <c:pt idx="29">
                  <c:v>2038</c:v>
                </c:pt>
                <c:pt idx="30">
                  <c:v>2069</c:v>
                </c:pt>
                <c:pt idx="31">
                  <c:v>2095</c:v>
                </c:pt>
                <c:pt idx="32">
                  <c:v>2126</c:v>
                </c:pt>
                <c:pt idx="33">
                  <c:v>2172</c:v>
                </c:pt>
                <c:pt idx="34">
                  <c:v>2223</c:v>
                </c:pt>
                <c:pt idx="35">
                  <c:v>2257</c:v>
                </c:pt>
                <c:pt idx="36">
                  <c:v>2300</c:v>
                </c:pt>
                <c:pt idx="37">
                  <c:v>2330</c:v>
                </c:pt>
                <c:pt idx="38">
                  <c:v>2352</c:v>
                </c:pt>
                <c:pt idx="39">
                  <c:v>2368</c:v>
                </c:pt>
                <c:pt idx="40">
                  <c:v>2389</c:v>
                </c:pt>
                <c:pt idx="41">
                  <c:v>2417</c:v>
                </c:pt>
                <c:pt idx="42">
                  <c:v>2430</c:v>
                </c:pt>
                <c:pt idx="43">
                  <c:v>2451</c:v>
                </c:pt>
                <c:pt idx="44">
                  <c:v>2465</c:v>
                </c:pt>
                <c:pt idx="45">
                  <c:v>2482</c:v>
                </c:pt>
                <c:pt idx="46">
                  <c:v>2498</c:v>
                </c:pt>
                <c:pt idx="47">
                  <c:v>2517</c:v>
                </c:pt>
                <c:pt idx="48">
                  <c:v>2535</c:v>
                </c:pt>
                <c:pt idx="49">
                  <c:v>2553</c:v>
                </c:pt>
                <c:pt idx="50">
                  <c:v>2585</c:v>
                </c:pt>
                <c:pt idx="51">
                  <c:v>2613</c:v>
                </c:pt>
                <c:pt idx="52">
                  <c:v>2633</c:v>
                </c:pt>
                <c:pt idx="53">
                  <c:v>2665</c:v>
                </c:pt>
                <c:pt idx="54">
                  <c:v>2695</c:v>
                </c:pt>
                <c:pt idx="55">
                  <c:v>2727</c:v>
                </c:pt>
                <c:pt idx="56">
                  <c:v>2770</c:v>
                </c:pt>
                <c:pt idx="57">
                  <c:v>2813</c:v>
                </c:pt>
                <c:pt idx="58">
                  <c:v>2855</c:v>
                </c:pt>
                <c:pt idx="59">
                  <c:v>2889</c:v>
                </c:pt>
                <c:pt idx="60">
                  <c:v>2924</c:v>
                </c:pt>
                <c:pt idx="61">
                  <c:v>2992</c:v>
                </c:pt>
                <c:pt idx="62">
                  <c:v>3094</c:v>
                </c:pt>
                <c:pt idx="63">
                  <c:v>3174</c:v>
                </c:pt>
                <c:pt idx="64">
                  <c:v>3256</c:v>
                </c:pt>
                <c:pt idx="65">
                  <c:v>3325</c:v>
                </c:pt>
                <c:pt idx="66">
                  <c:v>3377</c:v>
                </c:pt>
                <c:pt idx="67">
                  <c:v>3426</c:v>
                </c:pt>
                <c:pt idx="68">
                  <c:v>3530</c:v>
                </c:pt>
                <c:pt idx="69">
                  <c:v>3609</c:v>
                </c:pt>
                <c:pt idx="70">
                  <c:v>3713</c:v>
                </c:pt>
                <c:pt idx="71">
                  <c:v>3793</c:v>
                </c:pt>
                <c:pt idx="72">
                  <c:v>3876</c:v>
                </c:pt>
                <c:pt idx="73">
                  <c:v>3935</c:v>
                </c:pt>
                <c:pt idx="74">
                  <c:v>3982</c:v>
                </c:pt>
                <c:pt idx="75">
                  <c:v>4058</c:v>
                </c:pt>
                <c:pt idx="76">
                  <c:v>4139</c:v>
                </c:pt>
                <c:pt idx="77">
                  <c:v>4212</c:v>
                </c:pt>
                <c:pt idx="78">
                  <c:v>4291</c:v>
                </c:pt>
                <c:pt idx="79">
                  <c:v>4361</c:v>
                </c:pt>
                <c:pt idx="80">
                  <c:v>4402</c:v>
                </c:pt>
                <c:pt idx="81">
                  <c:v>4443</c:v>
                </c:pt>
                <c:pt idx="82">
                  <c:v>4524</c:v>
                </c:pt>
                <c:pt idx="83">
                  <c:v>4586</c:v>
                </c:pt>
                <c:pt idx="84">
                  <c:v>4646</c:v>
                </c:pt>
                <c:pt idx="85">
                  <c:v>4699</c:v>
                </c:pt>
                <c:pt idx="86">
                  <c:v>4754</c:v>
                </c:pt>
                <c:pt idx="87">
                  <c:v>4797</c:v>
                </c:pt>
                <c:pt idx="88">
                  <c:v>4827</c:v>
                </c:pt>
                <c:pt idx="89">
                  <c:v>4883</c:v>
                </c:pt>
                <c:pt idx="90">
                  <c:v>4935</c:v>
                </c:pt>
                <c:pt idx="91">
                  <c:v>4964</c:v>
                </c:pt>
                <c:pt idx="92">
                  <c:v>5002</c:v>
                </c:pt>
                <c:pt idx="93">
                  <c:v>50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098.8742195966438</c:v>
                </c:pt>
                <c:pt idx="32">
                  <c:v>2139.0972214397652</c:v>
                </c:pt>
                <c:pt idx="33">
                  <c:v>2177.7148987317823</c:v>
                </c:pt>
                <c:pt idx="34">
                  <c:v>2214.7732972163426</c:v>
                </c:pt>
                <c:pt idx="35">
                  <c:v>2250.3184617751881</c:v>
                </c:pt>
                <c:pt idx="36">
                  <c:v>2284.4347363262759</c:v>
                </c:pt>
                <c:pt idx="37">
                  <c:v>2317.1647000443049</c:v>
                </c:pt>
                <c:pt idx="38">
                  <c:v>2348.5507567948962</c:v>
                </c:pt>
                <c:pt idx="39">
                  <c:v>2378.6350352246372</c:v>
                </c:pt>
                <c:pt idx="40">
                  <c:v>2407.4592992915336</c:v>
                </c:pt>
                <c:pt idx="41">
                  <c:v>2435.3818387155461</c:v>
                </c:pt>
                <c:pt idx="42">
                  <c:v>2462.6696792046837</c:v>
                </c:pt>
                <c:pt idx="43">
                  <c:v>2489.4862765139255</c:v>
                </c:pt>
                <c:pt idx="44">
                  <c:v>2515.9364587643545</c:v>
                </c:pt>
                <c:pt idx="45">
                  <c:v>2542.0928192413394</c:v>
                </c:pt>
                <c:pt idx="46">
                  <c:v>2568.0106678836678</c:v>
                </c:pt>
                <c:pt idx="47">
                  <c:v>2593.7345089664823</c:v>
                </c:pt>
                <c:pt idx="48">
                  <c:v>2619.3003192203269</c:v>
                </c:pt>
                <c:pt idx="49">
                  <c:v>2644.735930396399</c:v>
                </c:pt>
                <c:pt idx="50">
                  <c:v>2670.0586148894981</c:v>
                </c:pt>
                <c:pt idx="51">
                  <c:v>2695.2792335383879</c:v>
                </c:pt>
                <c:pt idx="52">
                  <c:v>2720.4033650230708</c:v>
                </c:pt>
                <c:pt idx="53">
                  <c:v>2745.4319953590671</c:v>
                </c:pt>
                <c:pt idx="54">
                  <c:v>2770.3632626470558</c:v>
                </c:pt>
                <c:pt idx="55">
                  <c:v>2795.1930441827667</c:v>
                </c:pt>
                <c:pt idx="56">
                  <c:v>2819.9154510325429</c:v>
                </c:pt>
                <c:pt idx="57">
                  <c:v>2844.5241162871257</c:v>
                </c:pt>
                <c:pt idx="58">
                  <c:v>2869.0110212931036</c:v>
                </c:pt>
                <c:pt idx="59">
                  <c:v>2893.3674480738987</c:v>
                </c:pt>
                <c:pt idx="60">
                  <c:v>2917.5842280973743</c:v>
                </c:pt>
                <c:pt idx="61">
                  <c:v>2941.6520968788536</c:v>
                </c:pt>
                <c:pt idx="62">
                  <c:v>2965.5618929783436</c:v>
                </c:pt>
                <c:pt idx="63">
                  <c:v>2989.304650571426</c:v>
                </c:pt>
                <c:pt idx="64">
                  <c:v>3012.8717847360035</c:v>
                </c:pt>
                <c:pt idx="65">
                  <c:v>3036.2546926661189</c:v>
                </c:pt>
                <c:pt idx="66">
                  <c:v>3059.4449082588649</c:v>
                </c:pt>
                <c:pt idx="67">
                  <c:v>3082.4346293194935</c:v>
                </c:pt>
                <c:pt idx="68">
                  <c:v>3105.2163276363785</c:v>
                </c:pt>
                <c:pt idx="69">
                  <c:v>3127.782494670661</c:v>
                </c:pt>
                <c:pt idx="70">
                  <c:v>3150.1270448848736</c:v>
                </c:pt>
                <c:pt idx="71">
                  <c:v>3172.2449471446475</c:v>
                </c:pt>
                <c:pt idx="72">
                  <c:v>3194.1316013643445</c:v>
                </c:pt>
                <c:pt idx="73">
                  <c:v>3215.7828494453902</c:v>
                </c:pt>
                <c:pt idx="74">
                  <c:v>3237.1949771970926</c:v>
                </c:pt>
                <c:pt idx="75">
                  <c:v>3258.3647117130186</c:v>
                </c:pt>
                <c:pt idx="76">
                  <c:v>3279.2892128970147</c:v>
                </c:pt>
                <c:pt idx="77">
                  <c:v>3299.9660545593574</c:v>
                </c:pt>
                <c:pt idx="78">
                  <c:v>3320.3931967994995</c:v>
                </c:pt>
                <c:pt idx="79">
                  <c:v>3340.5689442022576</c:v>
                </c:pt>
                <c:pt idx="80">
                  <c:v>3360.491914759536</c:v>
                </c:pt>
                <c:pt idx="81">
                  <c:v>3380.1610114435384</c:v>
                </c:pt>
                <c:pt idx="82">
                  <c:v>3399.5753958473656</c:v>
                </c:pt>
                <c:pt idx="83">
                  <c:v>3418.7344668962905</c:v>
                </c:pt>
                <c:pt idx="84">
                  <c:v>3437.6378411631463</c:v>
                </c:pt>
                <c:pt idx="85">
                  <c:v>3456.2853359397322</c:v>
                </c:pt>
                <c:pt idx="86">
                  <c:v>3474.6769566879038</c:v>
                </c:pt>
                <c:pt idx="87">
                  <c:v>3492.8128812900586</c:v>
                </c:pt>
                <c:pt idx="88">
                  <c:v>3510.6934480500095</c:v>
                </c:pt>
                <c:pt idx="89">
                  <c:v>3528.3191449671181</c:v>
                </c:pt>
                <c:pt idx="90">
                  <c:v>3545.6906006150775</c:v>
                </c:pt>
                <c:pt idx="91">
                  <c:v>3562.8085759203022</c:v>
                </c:pt>
                <c:pt idx="92">
                  <c:v>3579.6739567684103</c:v>
                </c:pt>
                <c:pt idx="93">
                  <c:v>3596.28774804298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098.8742195966438</c:v>
                </c:pt>
                <c:pt idx="32">
                  <c:v>2139.0972214397652</c:v>
                </c:pt>
                <c:pt idx="33">
                  <c:v>2177.7148987317823</c:v>
                </c:pt>
                <c:pt idx="34">
                  <c:v>2215.3137517933969</c:v>
                </c:pt>
                <c:pt idx="35">
                  <c:v>2252.9746897787172</c:v>
                </c:pt>
                <c:pt idx="36">
                  <c:v>2291.0718877333243</c:v>
                </c:pt>
                <c:pt idx="37">
                  <c:v>2329.7708400295414</c:v>
                </c:pt>
                <c:pt idx="38">
                  <c:v>2369.1975080966199</c:v>
                </c:pt>
                <c:pt idx="39">
                  <c:v>2409.4599113777022</c:v>
                </c:pt>
                <c:pt idx="40">
                  <c:v>2450.6559082635099</c:v>
                </c:pt>
                <c:pt idx="41">
                  <c:v>2492.875108674797</c:v>
                </c:pt>
                <c:pt idx="42">
                  <c:v>2536.1981512880443</c:v>
                </c:pt>
                <c:pt idx="43">
                  <c:v>2580.6916523439509</c:v>
                </c:pt>
                <c:pt idx="44">
                  <c:v>2626.4141332808076</c:v>
                </c:pt>
                <c:pt idx="45">
                  <c:v>2673.4168058890573</c:v>
                </c:pt>
                <c:pt idx="46">
                  <c:v>2721.7437569628187</c:v>
                </c:pt>
                <c:pt idx="47">
                  <c:v>2771.4340575874012</c:v>
                </c:pt>
                <c:pt idx="48">
                  <c:v>2822.5219936809226</c:v>
                </c:pt>
                <c:pt idx="49">
                  <c:v>2875.0371374724245</c:v>
                </c:pt>
                <c:pt idx="50">
                  <c:v>2929.0058962317476</c:v>
                </c:pt>
                <c:pt idx="51">
                  <c:v>2984.4489568650329</c:v>
                </c:pt>
                <c:pt idx="52">
                  <c:v>3041.3823560736842</c:v>
                </c:pt>
                <c:pt idx="53">
                  <c:v>3099.8173705214563</c:v>
                </c:pt>
                <c:pt idx="54">
                  <c:v>3159.7606254036764</c:v>
                </c:pt>
                <c:pt idx="55">
                  <c:v>3221.2139960783952</c:v>
                </c:pt>
                <c:pt idx="56">
                  <c:v>3284.1743483400669</c:v>
                </c:pt>
                <c:pt idx="57">
                  <c:v>3348.6334512952308</c:v>
                </c:pt>
                <c:pt idx="58">
                  <c:v>3414.5770194602014</c:v>
                </c:pt>
                <c:pt idx="59">
                  <c:v>3481.9846950958054</c:v>
                </c:pt>
                <c:pt idx="60">
                  <c:v>3550.8306870774413</c:v>
                </c:pt>
                <c:pt idx="61">
                  <c:v>3621.0829303035721</c:v>
                </c:pt>
                <c:pt idx="62">
                  <c:v>3692.7025142802195</c:v>
                </c:pt>
                <c:pt idx="63">
                  <c:v>3765.6444461287315</c:v>
                </c:pt>
                <c:pt idx="64">
                  <c:v>3839.8573597943187</c:v>
                </c:pt>
                <c:pt idx="65">
                  <c:v>3915.2830076551613</c:v>
                </c:pt>
                <c:pt idx="66">
                  <c:v>3991.8566369763921</c:v>
                </c:pt>
                <c:pt idx="67">
                  <c:v>4069.5072880378093</c:v>
                </c:pt>
                <c:pt idx="68">
                  <c:v>4148.1580952057402</c:v>
                </c:pt>
                <c:pt idx="69">
                  <c:v>4227.7266256826124</c:v>
                </c:pt>
                <c:pt idx="70">
                  <c:v>4308.1283574688387</c:v>
                </c:pt>
                <c:pt idx="71">
                  <c:v>4389.2763922218801</c:v>
                </c:pt>
                <c:pt idx="72">
                  <c:v>4471.0811209557487</c:v>
                </c:pt>
                <c:pt idx="73">
                  <c:v>4553.4503264034593</c:v>
                </c:pt>
                <c:pt idx="74">
                  <c:v>4636.289522749471</c:v>
                </c:pt>
                <c:pt idx="75">
                  <c:v>4719.5024186817318</c:v>
                </c:pt>
                <c:pt idx="76">
                  <c:v>4802.9914314931193</c:v>
                </c:pt>
                <c:pt idx="77">
                  <c:v>4886.6582083436415</c:v>
                </c:pt>
                <c:pt idx="78">
                  <c:v>4970.4041391515611</c:v>
                </c:pt>
                <c:pt idx="79">
                  <c:v>5054.1308307808849</c:v>
                </c:pt>
                <c:pt idx="80">
                  <c:v>5137.7406100160615</c:v>
                </c:pt>
                <c:pt idx="81">
                  <c:v>5221.1370220579829</c:v>
                </c:pt>
                <c:pt idx="82">
                  <c:v>5304.2253164311287</c:v>
                </c:pt>
                <c:pt idx="83">
                  <c:v>5386.9129253802439</c:v>
                </c:pt>
                <c:pt idx="84">
                  <c:v>5469.1099188358767</c:v>
                </c:pt>
                <c:pt idx="85">
                  <c:v>5550.7294336092218</c:v>
                </c:pt>
                <c:pt idx="86">
                  <c:v>5631.6880794709205</c:v>
                </c:pt>
                <c:pt idx="87">
                  <c:v>5711.9062942283645</c:v>
                </c:pt>
                <c:pt idx="88">
                  <c:v>5791.3086669572194</c:v>
                </c:pt>
                <c:pt idx="89">
                  <c:v>5869.8242197432219</c:v>
                </c:pt>
                <c:pt idx="90">
                  <c:v>5947.3866476922076</c:v>
                </c:pt>
                <c:pt idx="91">
                  <c:v>6023.9345146260775</c:v>
                </c:pt>
                <c:pt idx="92">
                  <c:v>6099.4114039579972</c:v>
                </c:pt>
                <c:pt idx="93">
                  <c:v>6173.7660269764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098.8742195966438</c:v>
                </c:pt>
                <c:pt idx="32">
                  <c:v>2139.0972214397652</c:v>
                </c:pt>
                <c:pt idx="33">
                  <c:v>2177.7148987317823</c:v>
                </c:pt>
                <c:pt idx="34">
                  <c:v>2215.8542063704508</c:v>
                </c:pt>
                <c:pt idx="35">
                  <c:v>2254.3298979161236</c:v>
                </c:pt>
                <c:pt idx="36">
                  <c:v>2293.6781094003659</c:v>
                </c:pt>
                <c:pt idx="37">
                  <c:v>2334.2298295678443</c:v>
                </c:pt>
                <c:pt idx="38">
                  <c:v>2376.2369812770298</c:v>
                </c:pt>
                <c:pt idx="39">
                  <c:v>2419.9156034142306</c:v>
                </c:pt>
                <c:pt idx="40">
                  <c:v>2465.4614127608825</c:v>
                </c:pt>
                <c:pt idx="41">
                  <c:v>2513.0536291584926</c:v>
                </c:pt>
                <c:pt idx="42">
                  <c:v>2562.853529960023</c:v>
                </c:pt>
                <c:pt idx="43">
                  <c:v>2614.994347646872</c:v>
                </c:pt>
                <c:pt idx="44">
                  <c:v>2669.593125095626</c:v>
                </c:pt>
                <c:pt idx="45">
                  <c:v>2726.7522858871648</c:v>
                </c:pt>
                <c:pt idx="46">
                  <c:v>2786.5600036097162</c:v>
                </c:pt>
                <c:pt idx="47">
                  <c:v>2849.0944204339171</c:v>
                </c:pt>
                <c:pt idx="48">
                  <c:v>2914.4241081959958</c:v>
                </c:pt>
                <c:pt idx="49">
                  <c:v>2982.6082113540438</c:v>
                </c:pt>
                <c:pt idx="50">
                  <c:v>3053.6995444477261</c:v>
                </c:pt>
                <c:pt idx="51">
                  <c:v>3127.7394812893294</c:v>
                </c:pt>
                <c:pt idx="52">
                  <c:v>3204.7600952816638</c:v>
                </c:pt>
                <c:pt idx="53">
                  <c:v>3284.7839397522484</c:v>
                </c:pt>
                <c:pt idx="54">
                  <c:v>3367.8242650917209</c:v>
                </c:pt>
                <c:pt idx="55">
                  <c:v>3453.8848220161985</c:v>
                </c:pt>
                <c:pt idx="56">
                  <c:v>3542.9593421145782</c:v>
                </c:pt>
                <c:pt idx="57">
                  <c:v>3635.0313635999378</c:v>
                </c:pt>
                <c:pt idx="58">
                  <c:v>3730.0723155049191</c:v>
                </c:pt>
                <c:pt idx="59">
                  <c:v>3828.0414823511628</c:v>
                </c:pt>
                <c:pt idx="60">
                  <c:v>3928.8872818894711</c:v>
                </c:pt>
                <c:pt idx="61">
                  <c:v>4032.5455839167685</c:v>
                </c:pt>
                <c:pt idx="62">
                  <c:v>4138.9385674450996</c:v>
                </c:pt>
                <c:pt idx="63">
                  <c:v>4247.9762467171549</c:v>
                </c:pt>
                <c:pt idx="64">
                  <c:v>4359.5558896233688</c:v>
                </c:pt>
                <c:pt idx="65">
                  <c:v>4473.5610009200864</c:v>
                </c:pt>
                <c:pt idx="66">
                  <c:v>4589.8620751375884</c:v>
                </c:pt>
                <c:pt idx="67">
                  <c:v>4708.3171928354586</c:v>
                </c:pt>
                <c:pt idx="68">
                  <c:v>4828.7726227463518</c:v>
                </c:pt>
                <c:pt idx="69">
                  <c:v>4951.0634992751357</c:v>
                </c:pt>
                <c:pt idx="70">
                  <c:v>5075.0207784226241</c:v>
                </c:pt>
                <c:pt idx="71">
                  <c:v>5200.4706635037383</c:v>
                </c:pt>
                <c:pt idx="72">
                  <c:v>5327.2339365465123</c:v>
                </c:pt>
                <c:pt idx="73">
                  <c:v>5455.1261630169656</c:v>
                </c:pt>
                <c:pt idx="74">
                  <c:v>5583.9583712840249</c:v>
                </c:pt>
                <c:pt idx="75">
                  <c:v>5713.537978723587</c:v>
                </c:pt>
                <c:pt idx="76">
                  <c:v>5843.6698199213988</c:v>
                </c:pt>
                <c:pt idx="77">
                  <c:v>5974.1571891974836</c:v>
                </c:pt>
                <c:pt idx="78">
                  <c:v>6104.8028663883588</c:v>
                </c:pt>
                <c:pt idx="79">
                  <c:v>6235.4100652220386</c:v>
                </c:pt>
                <c:pt idx="80">
                  <c:v>6365.7834392674285</c:v>
                </c:pt>
                <c:pt idx="81">
                  <c:v>6495.7300789263072</c:v>
                </c:pt>
                <c:pt idx="82">
                  <c:v>6625.0604832476347</c:v>
                </c:pt>
                <c:pt idx="83">
                  <c:v>6753.589516720901</c:v>
                </c:pt>
                <c:pt idx="84">
                  <c:v>6881.1373192072115</c:v>
                </c:pt>
                <c:pt idx="85">
                  <c:v>7007.5301643289304</c:v>
                </c:pt>
                <c:pt idx="86">
                  <c:v>7132.6012716273726</c:v>
                </c:pt>
                <c:pt idx="87">
                  <c:v>7256.1915167172929</c:v>
                </c:pt>
                <c:pt idx="88">
                  <c:v>7378.1500777500341</c:v>
                </c:pt>
                <c:pt idx="89">
                  <c:v>7498.3349988970758</c:v>
                </c:pt>
                <c:pt idx="90">
                  <c:v>7616.613670370084</c:v>
                </c:pt>
                <c:pt idx="91">
                  <c:v>7732.8632198128598</c:v>
                </c:pt>
                <c:pt idx="92">
                  <c:v>7846.9708140517359</c:v>
                </c:pt>
                <c:pt idx="93">
                  <c:v>7958.83387566374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472</c:v>
                </c:pt>
                <c:pt idx="1">
                  <c:v>478</c:v>
                </c:pt>
                <c:pt idx="2">
                  <c:v>482</c:v>
                </c:pt>
                <c:pt idx="3">
                  <c:v>437</c:v>
                </c:pt>
                <c:pt idx="4">
                  <c:v>442</c:v>
                </c:pt>
                <c:pt idx="5">
                  <c:v>447</c:v>
                </c:pt>
                <c:pt idx="6">
                  <c:v>440</c:v>
                </c:pt>
                <c:pt idx="7">
                  <c:v>427</c:v>
                </c:pt>
                <c:pt idx="8">
                  <c:v>415</c:v>
                </c:pt>
                <c:pt idx="9">
                  <c:v>455</c:v>
                </c:pt>
                <c:pt idx="10">
                  <c:v>389</c:v>
                </c:pt>
                <c:pt idx="11">
                  <c:v>400</c:v>
                </c:pt>
                <c:pt idx="12">
                  <c:v>446</c:v>
                </c:pt>
                <c:pt idx="13">
                  <c:v>421</c:v>
                </c:pt>
                <c:pt idx="14">
                  <c:v>422</c:v>
                </c:pt>
                <c:pt idx="15">
                  <c:v>402</c:v>
                </c:pt>
                <c:pt idx="16">
                  <c:v>376</c:v>
                </c:pt>
                <c:pt idx="17">
                  <c:v>307</c:v>
                </c:pt>
                <c:pt idx="18">
                  <c:v>301</c:v>
                </c:pt>
                <c:pt idx="19">
                  <c:v>324</c:v>
                </c:pt>
                <c:pt idx="20">
                  <c:v>299</c:v>
                </c:pt>
                <c:pt idx="21">
                  <c:v>282</c:v>
                </c:pt>
                <c:pt idx="22">
                  <c:v>265</c:v>
                </c:pt>
                <c:pt idx="23">
                  <c:v>227</c:v>
                </c:pt>
                <c:pt idx="24">
                  <c:v>214</c:v>
                </c:pt>
                <c:pt idx="25">
                  <c:v>219</c:v>
                </c:pt>
                <c:pt idx="26">
                  <c:v>227</c:v>
                </c:pt>
                <c:pt idx="27">
                  <c:v>229</c:v>
                </c:pt>
                <c:pt idx="28">
                  <c:v>204</c:v>
                </c:pt>
                <c:pt idx="29">
                  <c:v>193</c:v>
                </c:pt>
                <c:pt idx="30">
                  <c:v>183</c:v>
                </c:pt>
                <c:pt idx="31">
                  <c:v>163</c:v>
                </c:pt>
                <c:pt idx="32">
                  <c:v>159</c:v>
                </c:pt>
                <c:pt idx="33">
                  <c:v>166</c:v>
                </c:pt>
                <c:pt idx="34">
                  <c:v>163</c:v>
                </c:pt>
                <c:pt idx="35">
                  <c:v>150</c:v>
                </c:pt>
                <c:pt idx="36">
                  <c:v>143</c:v>
                </c:pt>
                <c:pt idx="37">
                  <c:v>133</c:v>
                </c:pt>
                <c:pt idx="38">
                  <c:v>119</c:v>
                </c:pt>
                <c:pt idx="39">
                  <c:v>109</c:v>
                </c:pt>
                <c:pt idx="40">
                  <c:v>115</c:v>
                </c:pt>
                <c:pt idx="41">
                  <c:v>96</c:v>
                </c:pt>
                <c:pt idx="42">
                  <c:v>103</c:v>
                </c:pt>
                <c:pt idx="43">
                  <c:v>94</c:v>
                </c:pt>
                <c:pt idx="44">
                  <c:v>95</c:v>
                </c:pt>
                <c:pt idx="45">
                  <c:v>95</c:v>
                </c:pt>
                <c:pt idx="46">
                  <c:v>94</c:v>
                </c:pt>
                <c:pt idx="47">
                  <c:v>98</c:v>
                </c:pt>
                <c:pt idx="48">
                  <c:v>95</c:v>
                </c:pt>
                <c:pt idx="49">
                  <c:v>103</c:v>
                </c:pt>
                <c:pt idx="50">
                  <c:v>98</c:v>
                </c:pt>
                <c:pt idx="51">
                  <c:v>108</c:v>
                </c:pt>
                <c:pt idx="52">
                  <c:v>99</c:v>
                </c:pt>
                <c:pt idx="53">
                  <c:v>105</c:v>
                </c:pt>
                <c:pt idx="54">
                  <c:v>127</c:v>
                </c:pt>
                <c:pt idx="55">
                  <c:v>140</c:v>
                </c:pt>
                <c:pt idx="56">
                  <c:v>134</c:v>
                </c:pt>
                <c:pt idx="57">
                  <c:v>146</c:v>
                </c:pt>
                <c:pt idx="58">
                  <c:v>157</c:v>
                </c:pt>
                <c:pt idx="59">
                  <c:v>138</c:v>
                </c:pt>
                <c:pt idx="60">
                  <c:v>147</c:v>
                </c:pt>
                <c:pt idx="61">
                  <c:v>175</c:v>
                </c:pt>
                <c:pt idx="62">
                  <c:v>193</c:v>
                </c:pt>
                <c:pt idx="63">
                  <c:v>185</c:v>
                </c:pt>
                <c:pt idx="64">
                  <c:v>190</c:v>
                </c:pt>
                <c:pt idx="65">
                  <c:v>190</c:v>
                </c:pt>
                <c:pt idx="66">
                  <c:v>195</c:v>
                </c:pt>
                <c:pt idx="67">
                  <c:v>189</c:v>
                </c:pt>
                <c:pt idx="68">
                  <c:v>226</c:v>
                </c:pt>
                <c:pt idx="69">
                  <c:v>231</c:v>
                </c:pt>
                <c:pt idx="70">
                  <c:v>236</c:v>
                </c:pt>
                <c:pt idx="71">
                  <c:v>231</c:v>
                </c:pt>
                <c:pt idx="72">
                  <c:v>211</c:v>
                </c:pt>
                <c:pt idx="73">
                  <c:v>188</c:v>
                </c:pt>
                <c:pt idx="74">
                  <c:v>185</c:v>
                </c:pt>
                <c:pt idx="75">
                  <c:v>198</c:v>
                </c:pt>
                <c:pt idx="76">
                  <c:v>196</c:v>
                </c:pt>
                <c:pt idx="77">
                  <c:v>209</c:v>
                </c:pt>
                <c:pt idx="78">
                  <c:v>210</c:v>
                </c:pt>
                <c:pt idx="79">
                  <c:v>204</c:v>
                </c:pt>
                <c:pt idx="80">
                  <c:v>173</c:v>
                </c:pt>
                <c:pt idx="81">
                  <c:v>167</c:v>
                </c:pt>
                <c:pt idx="82">
                  <c:v>205</c:v>
                </c:pt>
                <c:pt idx="83">
                  <c:v>202</c:v>
                </c:pt>
                <c:pt idx="84">
                  <c:v>185</c:v>
                </c:pt>
                <c:pt idx="85">
                  <c:v>184</c:v>
                </c:pt>
                <c:pt idx="86">
                  <c:v>188</c:v>
                </c:pt>
                <c:pt idx="87">
                  <c:v>176</c:v>
                </c:pt>
                <c:pt idx="88">
                  <c:v>178</c:v>
                </c:pt>
                <c:pt idx="89">
                  <c:v>198</c:v>
                </c:pt>
                <c:pt idx="90">
                  <c:v>192</c:v>
                </c:pt>
                <c:pt idx="91">
                  <c:v>190</c:v>
                </c:pt>
                <c:pt idx="92">
                  <c:v>178</c:v>
                </c:pt>
                <c:pt idx="93">
                  <c:v>1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19.68377835676813</c:v>
                </c:pt>
                <c:pt idx="32">
                  <c:v>211.99710982825115</c:v>
                </c:pt>
                <c:pt idx="33">
                  <c:v>204.45292787221854</c:v>
                </c:pt>
                <c:pt idx="34">
                  <c:v>197.05760338073739</c:v>
                </c:pt>
                <c:pt idx="35">
                  <c:v>189.81656263494668</c:v>
                </c:pt>
                <c:pt idx="36">
                  <c:v>182.94044061131959</c:v>
                </c:pt>
                <c:pt idx="37">
                  <c:v>176.21196001253702</c:v>
                </c:pt>
                <c:pt idx="38">
                  <c:v>169.63485022901227</c:v>
                </c:pt>
                <c:pt idx="39">
                  <c:v>163.21220828863378</c:v>
                </c:pt>
                <c:pt idx="40">
                  <c:v>156.94671637663455</c:v>
                </c:pt>
                <c:pt idx="41">
                  <c:v>150.96158999321835</c:v>
                </c:pt>
                <c:pt idx="42">
                  <c:v>145.34019977956279</c:v>
                </c:pt>
                <c:pt idx="43">
                  <c:v>140.12201642851758</c:v>
                </c:pt>
                <c:pt idx="44">
                  <c:v>135.31972000324083</c:v>
                </c:pt>
                <c:pt idx="45">
                  <c:v>130.93115341286023</c:v>
                </c:pt>
                <c:pt idx="46">
                  <c:v>126.94603632979859</c:v>
                </c:pt>
                <c:pt idx="47">
                  <c:v>123.34949894447153</c:v>
                </c:pt>
                <c:pt idx="48">
                  <c:v>120.12273183243298</c:v>
                </c:pt>
                <c:pt idx="49">
                  <c:v>117.24383896523776</c:v>
                </c:pt>
                <c:pt idx="50">
                  <c:v>114.68797108622836</c:v>
                </c:pt>
                <c:pt idx="51">
                  <c:v>112.42967312601417</c:v>
                </c:pt>
                <c:pt idx="52">
                  <c:v>110.44257963544028</c:v>
                </c:pt>
                <c:pt idx="53">
                  <c:v>108.70073332231807</c:v>
                </c:pt>
                <c:pt idx="54">
                  <c:v>107.17941523965449</c:v>
                </c:pt>
                <c:pt idx="55">
                  <c:v>105.85252576896882</c:v>
                </c:pt>
                <c:pt idx="56">
                  <c:v>104.68928181809329</c:v>
                </c:pt>
                <c:pt idx="57">
                  <c:v>103.65910406872133</c:v>
                </c:pt>
                <c:pt idx="58">
                  <c:v>102.73552151999981</c:v>
                </c:pt>
                <c:pt idx="59">
                  <c:v>101.89626196190994</c:v>
                </c:pt>
                <c:pt idx="60">
                  <c:v>101.12245509745921</c:v>
                </c:pt>
                <c:pt idx="61">
                  <c:v>100.39807709225235</c:v>
                </c:pt>
                <c:pt idx="62">
                  <c:v>99.709314068589691</c:v>
                </c:pt>
                <c:pt idx="63">
                  <c:v>99.043439476533905</c:v>
                </c:pt>
                <c:pt idx="64">
                  <c:v>98.38935341883375</c:v>
                </c:pt>
                <c:pt idx="65">
                  <c:v>97.738017449234519</c:v>
                </c:pt>
                <c:pt idx="66">
                  <c:v>97.081997751115324</c:v>
                </c:pt>
                <c:pt idx="67">
                  <c:v>96.415603079383786</c:v>
                </c:pt>
                <c:pt idx="68">
                  <c:v>95.734500562966957</c:v>
                </c:pt>
                <c:pt idx="69">
                  <c:v>95.03541674360622</c:v>
                </c:pt>
                <c:pt idx="70">
                  <c:v>94.316116161588781</c:v>
                </c:pt>
                <c:pt idx="71">
                  <c:v>93.575194484600004</c:v>
                </c:pt>
                <c:pt idx="72">
                  <c:v>92.811922039268552</c:v>
                </c:pt>
                <c:pt idx="73">
                  <c:v>92.026017998539942</c:v>
                </c:pt>
                <c:pt idx="74">
                  <c:v>91.217624172970247</c:v>
                </c:pt>
                <c:pt idx="75">
                  <c:v>90.38736034778313</c:v>
                </c:pt>
                <c:pt idx="76">
                  <c:v>89.536186886429121</c:v>
                </c:pt>
                <c:pt idx="77">
                  <c:v>88.665240435216987</c:v>
                </c:pt>
                <c:pt idx="78">
                  <c:v>87.775632257413505</c:v>
                </c:pt>
                <c:pt idx="79">
                  <c:v>86.868491522409059</c:v>
                </c:pt>
                <c:pt idx="80">
                  <c:v>85.944910238271007</c:v>
                </c:pt>
                <c:pt idx="81">
                  <c:v>85.006136726480989</c:v>
                </c:pt>
                <c:pt idx="82">
                  <c:v>84.05351911074753</c:v>
                </c:pt>
                <c:pt idx="83">
                  <c:v>83.088397962206656</c:v>
                </c:pt>
                <c:pt idx="84">
                  <c:v>82.112119063975427</c:v>
                </c:pt>
                <c:pt idx="85">
                  <c:v>81.125991013970307</c:v>
                </c:pt>
                <c:pt idx="86">
                  <c:v>80.131266872715784</c:v>
                </c:pt>
                <c:pt idx="87">
                  <c:v>79.129142821728635</c:v>
                </c:pt>
                <c:pt idx="88">
                  <c:v>78.12075788194619</c:v>
                </c:pt>
                <c:pt idx="89">
                  <c:v>77.107147904915962</c:v>
                </c:pt>
                <c:pt idx="90">
                  <c:v>76.089301389545582</c:v>
                </c:pt>
                <c:pt idx="91">
                  <c:v>75.068164064130343</c:v>
                </c:pt>
                <c:pt idx="92">
                  <c:v>74.044631291392093</c:v>
                </c:pt>
                <c:pt idx="93">
                  <c:v>73.019544490170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19.68377835676813</c:v>
                </c:pt>
                <c:pt idx="32">
                  <c:v>211.99710982825115</c:v>
                </c:pt>
                <c:pt idx="33">
                  <c:v>204.45292787221854</c:v>
                </c:pt>
                <c:pt idx="34">
                  <c:v>197.47080111610802</c:v>
                </c:pt>
                <c:pt idx="35">
                  <c:v>191.33405456087152</c:v>
                </c:pt>
                <c:pt idx="36">
                  <c:v>186.39792335770019</c:v>
                </c:pt>
                <c:pt idx="37">
                  <c:v>182.51144342923189</c:v>
                </c:pt>
                <c:pt idx="38">
                  <c:v>179.7059492800322</c:v>
                </c:pt>
                <c:pt idx="39">
                  <c:v>176.90045513083251</c:v>
                </c:pt>
                <c:pt idx="40">
                  <c:v>176.58891420094724</c:v>
                </c:pt>
                <c:pt idx="41">
                  <c:v>176.81648805542162</c:v>
                </c:pt>
                <c:pt idx="42">
                  <c:v>177.57185126302318</c:v>
                </c:pt>
                <c:pt idx="43">
                  <c:v>178.83834108964024</c:v>
                </c:pt>
                <c:pt idx="44">
                  <c:v>180.59743407516086</c:v>
                </c:pt>
                <c:pt idx="45">
                  <c:v>182.82773819650734</c:v>
                </c:pt>
                <c:pt idx="46">
                  <c:v>185.50692493913618</c:v>
                </c:pt>
                <c:pt idx="47">
                  <c:v>188.61287499077591</c:v>
                </c:pt>
                <c:pt idx="48">
                  <c:v>192.11900508359966</c:v>
                </c:pt>
                <c:pt idx="49">
                  <c:v>195.98841348744514</c:v>
                </c:pt>
                <c:pt idx="50">
                  <c:v>200.18205416094631</c:v>
                </c:pt>
                <c:pt idx="51">
                  <c:v>204.66506746648176</c:v>
                </c:pt>
                <c:pt idx="52">
                  <c:v>209.40667613306766</c:v>
                </c:pt>
                <c:pt idx="53">
                  <c:v>214.37881469418258</c:v>
                </c:pt>
                <c:pt idx="54">
                  <c:v>219.55530842051564</c:v>
                </c:pt>
                <c:pt idx="55">
                  <c:v>224.91094607701416</c:v>
                </c:pt>
                <c:pt idx="56">
                  <c:v>230.41972202374859</c:v>
                </c:pt>
                <c:pt idx="57">
                  <c:v>236.0558860278733</c:v>
                </c:pt>
                <c:pt idx="58">
                  <c:v>241.7947942511195</c:v>
                </c:pt>
                <c:pt idx="59">
                  <c:v>247.61222128748207</c:v>
                </c:pt>
                <c:pt idx="60">
                  <c:v>253.48476254330845</c:v>
                </c:pt>
                <c:pt idx="61">
                  <c:v>259.38934488819598</c:v>
                </c:pt>
                <c:pt idx="62">
                  <c:v>265.30289619087011</c:v>
                </c:pt>
                <c:pt idx="63">
                  <c:v>271.20189871099461</c:v>
                </c:pt>
                <c:pt idx="64">
                  <c:v>277.06239350526545</c:v>
                </c:pt>
                <c:pt idx="65">
                  <c:v>282.8601296434756</c:v>
                </c:pt>
                <c:pt idx="66">
                  <c:v>288.57047573072981</c:v>
                </c:pt>
                <c:pt idx="67">
                  <c:v>294.16863770421742</c:v>
                </c:pt>
                <c:pt idx="68">
                  <c:v>299.63000392665606</c:v>
                </c:pt>
                <c:pt idx="69">
                  <c:v>304.93015331991762</c:v>
                </c:pt>
                <c:pt idx="70">
                  <c:v>310.04601783085309</c:v>
                </c:pt>
                <c:pt idx="71">
                  <c:v>314.95546554647098</c:v>
                </c:pt>
                <c:pt idx="72">
                  <c:v>319.63727732338737</c:v>
                </c:pt>
                <c:pt idx="73">
                  <c:v>324.07107528180103</c:v>
                </c:pt>
                <c:pt idx="74">
                  <c:v>328.2377707178714</c:v>
                </c:pt>
                <c:pt idx="75">
                  <c:v>332.11960615201332</c:v>
                </c:pt>
                <c:pt idx="76">
                  <c:v>335.70012871935882</c:v>
                </c:pt>
                <c:pt idx="77">
                  <c:v>338.96435640273489</c:v>
                </c:pt>
                <c:pt idx="78">
                  <c:v>341.89885194476403</c:v>
                </c:pt>
                <c:pt idx="79">
                  <c:v>344.49179446741431</c:v>
                </c:pt>
                <c:pt idx="80">
                  <c:v>346.7330643210218</c:v>
                </c:pt>
                <c:pt idx="81">
                  <c:v>348.61430577027403</c:v>
                </c:pt>
                <c:pt idx="82">
                  <c:v>350.12891031241611</c:v>
                </c:pt>
                <c:pt idx="83">
                  <c:v>351.2721540230213</c:v>
                </c:pt>
                <c:pt idx="84">
                  <c:v>352.04120652948166</c:v>
                </c:pt>
                <c:pt idx="85">
                  <c:v>352.43507487696849</c:v>
                </c:pt>
                <c:pt idx="86">
                  <c:v>352.45457481083213</c:v>
                </c:pt>
                <c:pt idx="87">
                  <c:v>352.10232612905912</c:v>
                </c:pt>
                <c:pt idx="88">
                  <c:v>351.38272885248045</c:v>
                </c:pt>
                <c:pt idx="89">
                  <c:v>350.30192071030768</c:v>
                </c:pt>
                <c:pt idx="90">
                  <c:v>348.8677147179958</c:v>
                </c:pt>
                <c:pt idx="91">
                  <c:v>347.0895186397961</c:v>
                </c:pt>
                <c:pt idx="92">
                  <c:v>344.97822729108788</c:v>
                </c:pt>
                <c:pt idx="93">
                  <c:v>342.546111825826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19.68377835676813</c:v>
                </c:pt>
                <c:pt idx="32">
                  <c:v>211.99710982825115</c:v>
                </c:pt>
                <c:pt idx="33">
                  <c:v>204.45292787221854</c:v>
                </c:pt>
                <c:pt idx="34">
                  <c:v>197.47080111610802</c:v>
                </c:pt>
                <c:pt idx="35">
                  <c:v>191.33405456087152</c:v>
                </c:pt>
                <c:pt idx="36">
                  <c:v>186.39792335770019</c:v>
                </c:pt>
                <c:pt idx="37">
                  <c:v>182.51144342923189</c:v>
                </c:pt>
                <c:pt idx="38">
                  <c:v>179.7059492800322</c:v>
                </c:pt>
                <c:pt idx="39">
                  <c:v>177.99211520423981</c:v>
                </c:pt>
                <c:pt idx="40">
                  <c:v>177.36903334446922</c:v>
                </c:pt>
                <c:pt idx="41">
                  <c:v>177.82418105341796</c:v>
                </c:pt>
                <c:pt idx="42">
                  <c:v>179.33490746862108</c:v>
                </c:pt>
                <c:pt idx="43">
                  <c:v>181.86788712185526</c:v>
                </c:pt>
                <c:pt idx="44">
                  <c:v>185.38607309289642</c:v>
                </c:pt>
                <c:pt idx="45">
                  <c:v>189.84668133558947</c:v>
                </c:pt>
                <c:pt idx="46">
                  <c:v>195.20505482084715</c:v>
                </c:pt>
                <c:pt idx="47">
                  <c:v>201.4169549241266</c:v>
                </c:pt>
                <c:pt idx="48">
                  <c:v>208.42921510977411</c:v>
                </c:pt>
                <c:pt idx="49">
                  <c:v>216.16803191746504</c:v>
                </c:pt>
                <c:pt idx="50">
                  <c:v>224.5553132644674</c:v>
                </c:pt>
                <c:pt idx="51">
                  <c:v>233.52133987553839</c:v>
                </c:pt>
                <c:pt idx="52">
                  <c:v>243.00455720871005</c:v>
                </c:pt>
                <c:pt idx="53">
                  <c:v>252.94883433093983</c:v>
                </c:pt>
                <c:pt idx="54">
                  <c:v>263.3018217836061</c:v>
                </c:pt>
                <c:pt idx="55">
                  <c:v>274.01309709660308</c:v>
                </c:pt>
                <c:pt idx="56">
                  <c:v>285.03064899007188</c:v>
                </c:pt>
                <c:pt idx="57">
                  <c:v>296.30297699832136</c:v>
                </c:pt>
                <c:pt idx="58">
                  <c:v>307.7807934448137</c:v>
                </c:pt>
                <c:pt idx="59">
                  <c:v>319.41564751753896</c:v>
                </c:pt>
                <c:pt idx="60">
                  <c:v>331.1607300291916</c:v>
                </c:pt>
                <c:pt idx="61">
                  <c:v>342.9698947189666</c:v>
                </c:pt>
                <c:pt idx="62">
                  <c:v>354.79699732431493</c:v>
                </c:pt>
                <c:pt idx="63">
                  <c:v>366.59500236456398</c:v>
                </c:pt>
                <c:pt idx="64">
                  <c:v>378.31599195310559</c:v>
                </c:pt>
                <c:pt idx="65">
                  <c:v>389.91146422952573</c:v>
                </c:pt>
                <c:pt idx="66">
                  <c:v>401.33215640403432</c:v>
                </c:pt>
                <c:pt idx="67">
                  <c:v>412.52848035100953</c:v>
                </c:pt>
                <c:pt idx="68">
                  <c:v>423.45121279588693</c:v>
                </c:pt>
                <c:pt idx="69">
                  <c:v>434.05151158240989</c:v>
                </c:pt>
                <c:pt idx="70">
                  <c:v>444.28324060428076</c:v>
                </c:pt>
                <c:pt idx="71">
                  <c:v>454.10213603551671</c:v>
                </c:pt>
                <c:pt idx="72">
                  <c:v>463.46575958934949</c:v>
                </c:pt>
                <c:pt idx="73">
                  <c:v>472.3333555061767</c:v>
                </c:pt>
                <c:pt idx="74">
                  <c:v>480.6667463783175</c:v>
                </c:pt>
                <c:pt idx="75">
                  <c:v>488.43041724660151</c:v>
                </c:pt>
                <c:pt idx="76">
                  <c:v>495.59146238129244</c:v>
                </c:pt>
                <c:pt idx="77">
                  <c:v>502.11991774804432</c:v>
                </c:pt>
                <c:pt idx="78">
                  <c:v>507.98890883210277</c:v>
                </c:pt>
                <c:pt idx="79">
                  <c:v>513.1747938774032</c:v>
                </c:pt>
                <c:pt idx="80">
                  <c:v>517.65733358461841</c:v>
                </c:pt>
                <c:pt idx="81">
                  <c:v>521.41981648312276</c:v>
                </c:pt>
                <c:pt idx="82">
                  <c:v>524.44902556740681</c:v>
                </c:pt>
                <c:pt idx="83">
                  <c:v>526.73551298861719</c:v>
                </c:pt>
                <c:pt idx="84">
                  <c:v>528.2736180015379</c:v>
                </c:pt>
                <c:pt idx="85">
                  <c:v>529.0613546965119</c:v>
                </c:pt>
                <c:pt idx="86">
                  <c:v>529.10035456423907</c:v>
                </c:pt>
                <c:pt idx="87">
                  <c:v>528.39585720069283</c:v>
                </c:pt>
                <c:pt idx="88">
                  <c:v>526.95666264753538</c:v>
                </c:pt>
                <c:pt idx="89">
                  <c:v>524.79504636318995</c:v>
                </c:pt>
                <c:pt idx="90">
                  <c:v>521.92663437856629</c:v>
                </c:pt>
                <c:pt idx="91">
                  <c:v>518.37024222216667</c:v>
                </c:pt>
                <c:pt idx="92">
                  <c:v>514.14765952475034</c:v>
                </c:pt>
                <c:pt idx="93">
                  <c:v>509.283428594228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395</c:v>
                </c:pt>
                <c:pt idx="1">
                  <c:v>392</c:v>
                </c:pt>
                <c:pt idx="2">
                  <c:v>383</c:v>
                </c:pt>
                <c:pt idx="3">
                  <c:v>366</c:v>
                </c:pt>
                <c:pt idx="4">
                  <c:v>381</c:v>
                </c:pt>
                <c:pt idx="5">
                  <c:v>400</c:v>
                </c:pt>
                <c:pt idx="6">
                  <c:v>388</c:v>
                </c:pt>
                <c:pt idx="7">
                  <c:v>361</c:v>
                </c:pt>
                <c:pt idx="8">
                  <c:v>331</c:v>
                </c:pt>
                <c:pt idx="9">
                  <c:v>315</c:v>
                </c:pt>
                <c:pt idx="10">
                  <c:v>296</c:v>
                </c:pt>
                <c:pt idx="11">
                  <c:v>294</c:v>
                </c:pt>
                <c:pt idx="12">
                  <c:v>311</c:v>
                </c:pt>
                <c:pt idx="13">
                  <c:v>292</c:v>
                </c:pt>
                <c:pt idx="14">
                  <c:v>279</c:v>
                </c:pt>
                <c:pt idx="15">
                  <c:v>255</c:v>
                </c:pt>
                <c:pt idx="16">
                  <c:v>247</c:v>
                </c:pt>
                <c:pt idx="17">
                  <c:v>233</c:v>
                </c:pt>
                <c:pt idx="18">
                  <c:v>234</c:v>
                </c:pt>
                <c:pt idx="19">
                  <c:v>247</c:v>
                </c:pt>
                <c:pt idx="20">
                  <c:v>236</c:v>
                </c:pt>
                <c:pt idx="21">
                  <c:v>215</c:v>
                </c:pt>
                <c:pt idx="22">
                  <c:v>209</c:v>
                </c:pt>
                <c:pt idx="23">
                  <c:v>178</c:v>
                </c:pt>
                <c:pt idx="24">
                  <c:v>177</c:v>
                </c:pt>
                <c:pt idx="25">
                  <c:v>182</c:v>
                </c:pt>
                <c:pt idx="26">
                  <c:v>184</c:v>
                </c:pt>
                <c:pt idx="27">
                  <c:v>183</c:v>
                </c:pt>
                <c:pt idx="28">
                  <c:v>163</c:v>
                </c:pt>
                <c:pt idx="29">
                  <c:v>160</c:v>
                </c:pt>
                <c:pt idx="30">
                  <c:v>156</c:v>
                </c:pt>
                <c:pt idx="31">
                  <c:v>140</c:v>
                </c:pt>
                <c:pt idx="32">
                  <c:v>142</c:v>
                </c:pt>
                <c:pt idx="33">
                  <c:v>153</c:v>
                </c:pt>
                <c:pt idx="34">
                  <c:v>140</c:v>
                </c:pt>
                <c:pt idx="35">
                  <c:v>128</c:v>
                </c:pt>
                <c:pt idx="36">
                  <c:v>117</c:v>
                </c:pt>
                <c:pt idx="37">
                  <c:v>120</c:v>
                </c:pt>
                <c:pt idx="38">
                  <c:v>118</c:v>
                </c:pt>
                <c:pt idx="39">
                  <c:v>123</c:v>
                </c:pt>
                <c:pt idx="40">
                  <c:v>124</c:v>
                </c:pt>
                <c:pt idx="41">
                  <c:v>108</c:v>
                </c:pt>
                <c:pt idx="42">
                  <c:v>98</c:v>
                </c:pt>
                <c:pt idx="43">
                  <c:v>93</c:v>
                </c:pt>
                <c:pt idx="44">
                  <c:v>84</c:v>
                </c:pt>
                <c:pt idx="45">
                  <c:v>75</c:v>
                </c:pt>
                <c:pt idx="46">
                  <c:v>77</c:v>
                </c:pt>
                <c:pt idx="47">
                  <c:v>84</c:v>
                </c:pt>
                <c:pt idx="48">
                  <c:v>87</c:v>
                </c:pt>
                <c:pt idx="49">
                  <c:v>85</c:v>
                </c:pt>
                <c:pt idx="50">
                  <c:v>79</c:v>
                </c:pt>
                <c:pt idx="51">
                  <c:v>86</c:v>
                </c:pt>
                <c:pt idx="52">
                  <c:v>86</c:v>
                </c:pt>
                <c:pt idx="53">
                  <c:v>86</c:v>
                </c:pt>
                <c:pt idx="54">
                  <c:v>98</c:v>
                </c:pt>
                <c:pt idx="55">
                  <c:v>107</c:v>
                </c:pt>
                <c:pt idx="56">
                  <c:v>115</c:v>
                </c:pt>
                <c:pt idx="57">
                  <c:v>141</c:v>
                </c:pt>
                <c:pt idx="58">
                  <c:v>155</c:v>
                </c:pt>
                <c:pt idx="59">
                  <c:v>157</c:v>
                </c:pt>
                <c:pt idx="60">
                  <c:v>169</c:v>
                </c:pt>
                <c:pt idx="61">
                  <c:v>203</c:v>
                </c:pt>
                <c:pt idx="62">
                  <c:v>234</c:v>
                </c:pt>
                <c:pt idx="63">
                  <c:v>243</c:v>
                </c:pt>
                <c:pt idx="64">
                  <c:v>242</c:v>
                </c:pt>
                <c:pt idx="65">
                  <c:v>265</c:v>
                </c:pt>
                <c:pt idx="66">
                  <c:v>248</c:v>
                </c:pt>
                <c:pt idx="67">
                  <c:v>249</c:v>
                </c:pt>
                <c:pt idx="68">
                  <c:v>278</c:v>
                </c:pt>
                <c:pt idx="69">
                  <c:v>291</c:v>
                </c:pt>
                <c:pt idx="70">
                  <c:v>292</c:v>
                </c:pt>
                <c:pt idx="71">
                  <c:v>305</c:v>
                </c:pt>
                <c:pt idx="72">
                  <c:v>300</c:v>
                </c:pt>
                <c:pt idx="73">
                  <c:v>282</c:v>
                </c:pt>
                <c:pt idx="74">
                  <c:v>285</c:v>
                </c:pt>
                <c:pt idx="75">
                  <c:v>315</c:v>
                </c:pt>
                <c:pt idx="76">
                  <c:v>327</c:v>
                </c:pt>
                <c:pt idx="77">
                  <c:v>307</c:v>
                </c:pt>
                <c:pt idx="78">
                  <c:v>309</c:v>
                </c:pt>
                <c:pt idx="79">
                  <c:v>295</c:v>
                </c:pt>
                <c:pt idx="80">
                  <c:v>281</c:v>
                </c:pt>
                <c:pt idx="81">
                  <c:v>285</c:v>
                </c:pt>
                <c:pt idx="82">
                  <c:v>310</c:v>
                </c:pt>
                <c:pt idx="83">
                  <c:v>313</c:v>
                </c:pt>
                <c:pt idx="84">
                  <c:v>294</c:v>
                </c:pt>
                <c:pt idx="85">
                  <c:v>287</c:v>
                </c:pt>
                <c:pt idx="86">
                  <c:v>260</c:v>
                </c:pt>
                <c:pt idx="87">
                  <c:v>240</c:v>
                </c:pt>
                <c:pt idx="88">
                  <c:v>245</c:v>
                </c:pt>
                <c:pt idx="89">
                  <c:v>254</c:v>
                </c:pt>
                <c:pt idx="90">
                  <c:v>205</c:v>
                </c:pt>
                <c:pt idx="91">
                  <c:v>173</c:v>
                </c:pt>
                <c:pt idx="92">
                  <c:v>169</c:v>
                </c:pt>
                <c:pt idx="93">
                  <c:v>1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86.32996269301225</c:v>
                </c:pt>
                <c:pt idx="32">
                  <c:v>179.81033402099385</c:v>
                </c:pt>
                <c:pt idx="33">
                  <c:v>173.4115586861397</c:v>
                </c:pt>
                <c:pt idx="34">
                  <c:v>167.1390403103743</c:v>
                </c:pt>
                <c:pt idx="35">
                  <c:v>160.99738132164998</c:v>
                </c:pt>
                <c:pt idx="36">
                  <c:v>155.16523672855075</c:v>
                </c:pt>
                <c:pt idx="37">
                  <c:v>149.45831768186645</c:v>
                </c:pt>
                <c:pt idx="38">
                  <c:v>143.8797873517764</c:v>
                </c:pt>
                <c:pt idx="39">
                  <c:v>138.4322725553138</c:v>
                </c:pt>
                <c:pt idx="40">
                  <c:v>133.11804825095831</c:v>
                </c:pt>
                <c:pt idx="41">
                  <c:v>128.04162256274114</c:v>
                </c:pt>
                <c:pt idx="42">
                  <c:v>123.2737082605196</c:v>
                </c:pt>
                <c:pt idx="43">
                  <c:v>118.84778334062621</c:v>
                </c:pt>
                <c:pt idx="44">
                  <c:v>114.77460269681272</c:v>
                </c:pt>
                <c:pt idx="45">
                  <c:v>111.05233674172963</c:v>
                </c:pt>
                <c:pt idx="46">
                  <c:v>107.67226597379036</c:v>
                </c:pt>
                <c:pt idx="47">
                  <c:v>104.62177821431774</c:v>
                </c:pt>
                <c:pt idx="48">
                  <c:v>101.88491980764579</c:v>
                </c:pt>
                <c:pt idx="49">
                  <c:v>99.443119122342068</c:v>
                </c:pt>
                <c:pt idx="50">
                  <c:v>97.275299677017884</c:v>
                </c:pt>
                <c:pt idx="51">
                  <c:v>95.359871155968648</c:v>
                </c:pt>
                <c:pt idx="52">
                  <c:v>93.674471083484164</c:v>
                </c:pt>
                <c:pt idx="53">
                  <c:v>92.19708317178349</c:v>
                </c:pt>
                <c:pt idx="54">
                  <c:v>90.906741464684117</c:v>
                </c:pt>
                <c:pt idx="55">
                  <c:v>89.781308957013508</c:v>
                </c:pt>
                <c:pt idx="56">
                  <c:v>88.794676245254934</c:v>
                </c:pt>
                <c:pt idx="57">
                  <c:v>87.920906761483963</c:v>
                </c:pt>
                <c:pt idx="58">
                  <c:v>87.137548503835461</c:v>
                </c:pt>
                <c:pt idx="59">
                  <c:v>86.425710773629092</c:v>
                </c:pt>
                <c:pt idx="60">
                  <c:v>85.76938828471711</c:v>
                </c:pt>
                <c:pt idx="61">
                  <c:v>85.154990045140977</c:v>
                </c:pt>
                <c:pt idx="62">
                  <c:v>84.570799489682798</c:v>
                </c:pt>
                <c:pt idx="63">
                  <c:v>84.00602229573596</c:v>
                </c:pt>
                <c:pt idx="64">
                  <c:v>83.45124382442178</c:v>
                </c:pt>
                <c:pt idx="65">
                  <c:v>82.89879790500143</c:v>
                </c:pt>
                <c:pt idx="66">
                  <c:v>82.342379371094381</c:v>
                </c:pt>
                <c:pt idx="67">
                  <c:v>81.777161059340358</c:v>
                </c:pt>
                <c:pt idx="68">
                  <c:v>81.199467943247086</c:v>
                </c:pt>
                <c:pt idx="69">
                  <c:v>80.606523562213951</c:v>
                </c:pt>
                <c:pt idx="70">
                  <c:v>79.996431858516516</c:v>
                </c:pt>
                <c:pt idx="71">
                  <c:v>79.36800171467786</c:v>
                </c:pt>
                <c:pt idx="72">
                  <c:v>78.7206142410691</c:v>
                </c:pt>
                <c:pt idx="73">
                  <c:v>78.05403124762006</c:v>
                </c:pt>
                <c:pt idx="74">
                  <c:v>77.368373014288693</c:v>
                </c:pt>
                <c:pt idx="75">
                  <c:v>76.664165226487285</c:v>
                </c:pt>
                <c:pt idx="76">
                  <c:v>75.942222439060316</c:v>
                </c:pt>
                <c:pt idx="77">
                  <c:v>75.203508725303905</c:v>
                </c:pt>
                <c:pt idx="78">
                  <c:v>74.448966629290226</c:v>
                </c:pt>
                <c:pt idx="79">
                  <c:v>73.67955388259125</c:v>
                </c:pt>
                <c:pt idx="80">
                  <c:v>72.89619669752895</c:v>
                </c:pt>
                <c:pt idx="81">
                  <c:v>72.099953867323492</c:v>
                </c:pt>
                <c:pt idx="82">
                  <c:v>71.291968834800699</c:v>
                </c:pt>
                <c:pt idx="83">
                  <c:v>70.473378636894466</c:v>
                </c:pt>
                <c:pt idx="84">
                  <c:v>69.645324731202905</c:v>
                </c:pt>
                <c:pt idx="85">
                  <c:v>68.808917035821835</c:v>
                </c:pt>
                <c:pt idx="86">
                  <c:v>67.965218363502089</c:v>
                </c:pt>
                <c:pt idx="87">
                  <c:v>67.115243283726457</c:v>
                </c:pt>
                <c:pt idx="88">
                  <c:v>66.259957883888148</c:v>
                </c:pt>
                <c:pt idx="89">
                  <c:v>65.400240745836257</c:v>
                </c:pt>
                <c:pt idx="90">
                  <c:v>64.536930288164811</c:v>
                </c:pt>
                <c:pt idx="91">
                  <c:v>63.670828652567181</c:v>
                </c:pt>
                <c:pt idx="92">
                  <c:v>62.802695261991239</c:v>
                </c:pt>
                <c:pt idx="93">
                  <c:v>61.9332437856126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86.32996269301225</c:v>
                </c:pt>
                <c:pt idx="32">
                  <c:v>179.81033402099385</c:v>
                </c:pt>
                <c:pt idx="33">
                  <c:v>173.4115586861397</c:v>
                </c:pt>
                <c:pt idx="34">
                  <c:v>167.48950368637929</c:v>
                </c:pt>
                <c:pt idx="35">
                  <c:v>162.28447778393556</c:v>
                </c:pt>
                <c:pt idx="36">
                  <c:v>158.09778202599458</c:v>
                </c:pt>
                <c:pt idx="37">
                  <c:v>154.80137268027318</c:v>
                </c:pt>
                <c:pt idx="38">
                  <c:v>152.42182684368029</c:v>
                </c:pt>
                <c:pt idx="39">
                  <c:v>150.04228100708741</c:v>
                </c:pt>
                <c:pt idx="40">
                  <c:v>149.77804024121437</c:v>
                </c:pt>
                <c:pt idx="41">
                  <c:v>149.97106235750942</c:v>
                </c:pt>
                <c:pt idx="42">
                  <c:v>150.61174142514409</c:v>
                </c:pt>
                <c:pt idx="43">
                  <c:v>151.68594455434098</c:v>
                </c:pt>
                <c:pt idx="44">
                  <c:v>153.17796063680879</c:v>
                </c:pt>
                <c:pt idx="45">
                  <c:v>155.06964552511982</c:v>
                </c:pt>
                <c:pt idx="46">
                  <c:v>157.34206076458699</c:v>
                </c:pt>
                <c:pt idx="47">
                  <c:v>159.97644534034987</c:v>
                </c:pt>
                <c:pt idx="48">
                  <c:v>162.95025202866958</c:v>
                </c:pt>
                <c:pt idx="49">
                  <c:v>166.23218175932848</c:v>
                </c:pt>
                <c:pt idx="50">
                  <c:v>169.78911671413596</c:v>
                </c:pt>
                <c:pt idx="51">
                  <c:v>173.59148987168487</c:v>
                </c:pt>
                <c:pt idx="52">
                  <c:v>177.61319676583253</c:v>
                </c:pt>
                <c:pt idx="53">
                  <c:v>181.83043301116169</c:v>
                </c:pt>
                <c:pt idx="54">
                  <c:v>186.22099789548304</c:v>
                </c:pt>
                <c:pt idx="55">
                  <c:v>190.76350791691956</c:v>
                </c:pt>
                <c:pt idx="56">
                  <c:v>195.4359057804169</c:v>
                </c:pt>
                <c:pt idx="57">
                  <c:v>200.21635082044506</c:v>
                </c:pt>
                <c:pt idx="58">
                  <c:v>205.08394078605227</c:v>
                </c:pt>
                <c:pt idx="59">
                  <c:v>210.01812832945112</c:v>
                </c:pt>
                <c:pt idx="60">
                  <c:v>214.99906229415316</c:v>
                </c:pt>
                <c:pt idx="61">
                  <c:v>220.00717266202011</c:v>
                </c:pt>
                <c:pt idx="62">
                  <c:v>225.02289026234757</c:v>
                </c:pt>
                <c:pt idx="63">
                  <c:v>230.02626797062669</c:v>
                </c:pt>
                <c:pt idx="64">
                  <c:v>234.99698444567605</c:v>
                </c:pt>
                <c:pt idx="65">
                  <c:v>239.9144706907561</c:v>
                </c:pt>
                <c:pt idx="66">
                  <c:v>244.75783500905507</c:v>
                </c:pt>
                <c:pt idx="67">
                  <c:v>249.50604773314333</c:v>
                </c:pt>
                <c:pt idx="68">
                  <c:v>254.13823392409299</c:v>
                </c:pt>
                <c:pt idx="69">
                  <c:v>258.63368027020414</c:v>
                </c:pt>
                <c:pt idx="70">
                  <c:v>262.97282105973039</c:v>
                </c:pt>
                <c:pt idx="71">
                  <c:v>267.13688459021455</c:v>
                </c:pt>
                <c:pt idx="72">
                  <c:v>271.10787334620642</c:v>
                </c:pt>
                <c:pt idx="73">
                  <c:v>274.86850334974673</c:v>
                </c:pt>
                <c:pt idx="74">
                  <c:v>278.40258406778361</c:v>
                </c:pt>
                <c:pt idx="75">
                  <c:v>281.69505407642225</c:v>
                </c:pt>
                <c:pt idx="76">
                  <c:v>284.73195849141968</c:v>
                </c:pt>
                <c:pt idx="77">
                  <c:v>287.50058996259366</c:v>
                </c:pt>
                <c:pt idx="78">
                  <c:v>289.98955136410922</c:v>
                </c:pt>
                <c:pt idx="79">
                  <c:v>292.18881654028405</c:v>
                </c:pt>
                <c:pt idx="80">
                  <c:v>294.08980227228221</c:v>
                </c:pt>
                <c:pt idx="81">
                  <c:v>295.68542144670505</c:v>
                </c:pt>
                <c:pt idx="82">
                  <c:v>296.97006890653557</c:v>
                </c:pt>
                <c:pt idx="83">
                  <c:v>297.93973794418361</c:v>
                </c:pt>
                <c:pt idx="84">
                  <c:v>298.59202791256263</c:v>
                </c:pt>
                <c:pt idx="85">
                  <c:v>298.92609661368448</c:v>
                </c:pt>
                <c:pt idx="86">
                  <c:v>298.94263594115102</c:v>
                </c:pt>
                <c:pt idx="87">
                  <c:v>298.64386793823166</c:v>
                </c:pt>
                <c:pt idx="88">
                  <c:v>298.03352458606503</c:v>
                </c:pt>
                <c:pt idx="89">
                  <c:v>297.11681174401667</c:v>
                </c:pt>
                <c:pt idx="90">
                  <c:v>295.90035620487544</c:v>
                </c:pt>
                <c:pt idx="91">
                  <c:v>294.39213738512387</c:v>
                </c:pt>
                <c:pt idx="92">
                  <c:v>292.6013959786282</c:v>
                </c:pt>
                <c:pt idx="93">
                  <c:v>290.538540053184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86.32996269301225</c:v>
                </c:pt>
                <c:pt idx="32">
                  <c:v>179.81033402099385</c:v>
                </c:pt>
                <c:pt idx="33">
                  <c:v>173.4115586861397</c:v>
                </c:pt>
                <c:pt idx="34">
                  <c:v>167.48950368637929</c:v>
                </c:pt>
                <c:pt idx="35">
                  <c:v>162.28447778393556</c:v>
                </c:pt>
                <c:pt idx="36">
                  <c:v>158.09778202599458</c:v>
                </c:pt>
                <c:pt idx="37">
                  <c:v>154.80137268027318</c:v>
                </c:pt>
                <c:pt idx="38">
                  <c:v>152.42182684368029</c:v>
                </c:pt>
                <c:pt idx="39">
                  <c:v>150.96819816980613</c:v>
                </c:pt>
                <c:pt idx="40">
                  <c:v>150.43971663806008</c:v>
                </c:pt>
                <c:pt idx="41">
                  <c:v>150.82576087065016</c:v>
                </c:pt>
                <c:pt idx="42">
                  <c:v>152.10711900591949</c:v>
                </c:pt>
                <c:pt idx="43">
                  <c:v>154.25552526431332</c:v>
                </c:pt>
                <c:pt idx="44">
                  <c:v>157.23955742924892</c:v>
                </c:pt>
                <c:pt idx="45">
                  <c:v>161.02292720587096</c:v>
                </c:pt>
                <c:pt idx="46">
                  <c:v>165.56775768480529</c:v>
                </c:pt>
                <c:pt idx="47">
                  <c:v>170.83652683633113</c:v>
                </c:pt>
                <c:pt idx="48">
                  <c:v>176.78414021297053</c:v>
                </c:pt>
                <c:pt idx="49">
                  <c:v>183.34799967428827</c:v>
                </c:pt>
                <c:pt idx="50">
                  <c:v>190.46186958390328</c:v>
                </c:pt>
                <c:pt idx="51">
                  <c:v>198.06661589900116</c:v>
                </c:pt>
                <c:pt idx="52">
                  <c:v>206.1100296872963</c:v>
                </c:pt>
                <c:pt idx="53">
                  <c:v>214.54450217795468</c:v>
                </c:pt>
                <c:pt idx="54">
                  <c:v>223.32563194659744</c:v>
                </c:pt>
                <c:pt idx="55">
                  <c:v>232.41065198947044</c:v>
                </c:pt>
                <c:pt idx="56">
                  <c:v>241.75544771646506</c:v>
                </c:pt>
                <c:pt idx="57">
                  <c:v>251.31633779652145</c:v>
                </c:pt>
                <c:pt idx="58">
                  <c:v>261.05151772773581</c:v>
                </c:pt>
                <c:pt idx="59">
                  <c:v>270.91989281453363</c:v>
                </c:pt>
                <c:pt idx="60">
                  <c:v>280.88176074393766</c:v>
                </c:pt>
                <c:pt idx="61">
                  <c:v>290.89798147967144</c:v>
                </c:pt>
                <c:pt idx="62">
                  <c:v>300.92941668032648</c:v>
                </c:pt>
                <c:pt idx="63">
                  <c:v>310.93617209688472</c:v>
                </c:pt>
                <c:pt idx="64">
                  <c:v>320.87760504698343</c:v>
                </c:pt>
                <c:pt idx="65">
                  <c:v>330.71257753714343</c:v>
                </c:pt>
                <c:pt idx="66">
                  <c:v>340.39930617374142</c:v>
                </c:pt>
                <c:pt idx="67">
                  <c:v>349.89573162191789</c:v>
                </c:pt>
                <c:pt idx="68">
                  <c:v>359.16010400381731</c:v>
                </c:pt>
                <c:pt idx="69">
                  <c:v>368.15099669603944</c:v>
                </c:pt>
                <c:pt idx="70">
                  <c:v>376.82927827509201</c:v>
                </c:pt>
                <c:pt idx="71">
                  <c:v>385.15740533606044</c:v>
                </c:pt>
                <c:pt idx="72">
                  <c:v>393.09938284804417</c:v>
                </c:pt>
                <c:pt idx="73">
                  <c:v>400.62064285512474</c:v>
                </c:pt>
                <c:pt idx="74">
                  <c:v>407.68880429119849</c:v>
                </c:pt>
                <c:pt idx="75">
                  <c:v>414.27374430847595</c:v>
                </c:pt>
                <c:pt idx="76">
                  <c:v>420.34755313847063</c:v>
                </c:pt>
                <c:pt idx="77">
                  <c:v>425.88481608081844</c:v>
                </c:pt>
                <c:pt idx="78">
                  <c:v>430.86273888384972</c:v>
                </c:pt>
                <c:pt idx="79">
                  <c:v>435.26126923619927</c:v>
                </c:pt>
                <c:pt idx="80">
                  <c:v>439.06324070019576</c:v>
                </c:pt>
                <c:pt idx="81">
                  <c:v>442.25447904904132</c:v>
                </c:pt>
                <c:pt idx="82">
                  <c:v>444.82377396870237</c:v>
                </c:pt>
                <c:pt idx="83">
                  <c:v>446.76311204399838</c:v>
                </c:pt>
                <c:pt idx="84">
                  <c:v>448.06769198075648</c:v>
                </c:pt>
                <c:pt idx="85">
                  <c:v>448.73582938300035</c:v>
                </c:pt>
                <c:pt idx="86">
                  <c:v>448.76890803793339</c:v>
                </c:pt>
                <c:pt idx="87">
                  <c:v>448.17137203209455</c:v>
                </c:pt>
                <c:pt idx="88">
                  <c:v>446.95068532776116</c:v>
                </c:pt>
                <c:pt idx="89">
                  <c:v>445.11725964366457</c:v>
                </c:pt>
                <c:pt idx="90">
                  <c:v>442.68434856538215</c:v>
                </c:pt>
                <c:pt idx="91">
                  <c:v>439.66791092587886</c:v>
                </c:pt>
                <c:pt idx="92">
                  <c:v>436.08642811288757</c:v>
                </c:pt>
                <c:pt idx="93">
                  <c:v>431.960716261999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105</c:v>
                </c:pt>
                <c:pt idx="1">
                  <c:v>108</c:v>
                </c:pt>
                <c:pt idx="2">
                  <c:v>109</c:v>
                </c:pt>
                <c:pt idx="3">
                  <c:v>101</c:v>
                </c:pt>
                <c:pt idx="4">
                  <c:v>104</c:v>
                </c:pt>
                <c:pt idx="5">
                  <c:v>116</c:v>
                </c:pt>
                <c:pt idx="6">
                  <c:v>102</c:v>
                </c:pt>
                <c:pt idx="7">
                  <c:v>95</c:v>
                </c:pt>
                <c:pt idx="8">
                  <c:v>88</c:v>
                </c:pt>
                <c:pt idx="9">
                  <c:v>87</c:v>
                </c:pt>
                <c:pt idx="10">
                  <c:v>79</c:v>
                </c:pt>
                <c:pt idx="11">
                  <c:v>80</c:v>
                </c:pt>
                <c:pt idx="12">
                  <c:v>89</c:v>
                </c:pt>
                <c:pt idx="13">
                  <c:v>81</c:v>
                </c:pt>
                <c:pt idx="14">
                  <c:v>73</c:v>
                </c:pt>
                <c:pt idx="15">
                  <c:v>65</c:v>
                </c:pt>
                <c:pt idx="16">
                  <c:v>56</c:v>
                </c:pt>
                <c:pt idx="17">
                  <c:v>55</c:v>
                </c:pt>
                <c:pt idx="18">
                  <c:v>51</c:v>
                </c:pt>
                <c:pt idx="19">
                  <c:v>48</c:v>
                </c:pt>
                <c:pt idx="20">
                  <c:v>48</c:v>
                </c:pt>
                <c:pt idx="21">
                  <c:v>43</c:v>
                </c:pt>
                <c:pt idx="22">
                  <c:v>43</c:v>
                </c:pt>
                <c:pt idx="23">
                  <c:v>41</c:v>
                </c:pt>
                <c:pt idx="24">
                  <c:v>41</c:v>
                </c:pt>
                <c:pt idx="25">
                  <c:v>40</c:v>
                </c:pt>
                <c:pt idx="26">
                  <c:v>38</c:v>
                </c:pt>
                <c:pt idx="27">
                  <c:v>37</c:v>
                </c:pt>
                <c:pt idx="28">
                  <c:v>29</c:v>
                </c:pt>
                <c:pt idx="29">
                  <c:v>30</c:v>
                </c:pt>
                <c:pt idx="30">
                  <c:v>26</c:v>
                </c:pt>
                <c:pt idx="31">
                  <c:v>25</c:v>
                </c:pt>
                <c:pt idx="32">
                  <c:v>26</c:v>
                </c:pt>
                <c:pt idx="33">
                  <c:v>26</c:v>
                </c:pt>
                <c:pt idx="34">
                  <c:v>29</c:v>
                </c:pt>
                <c:pt idx="35">
                  <c:v>29</c:v>
                </c:pt>
                <c:pt idx="36">
                  <c:v>22</c:v>
                </c:pt>
                <c:pt idx="37">
                  <c:v>27</c:v>
                </c:pt>
                <c:pt idx="38">
                  <c:v>25</c:v>
                </c:pt>
                <c:pt idx="39">
                  <c:v>24</c:v>
                </c:pt>
                <c:pt idx="40">
                  <c:v>29</c:v>
                </c:pt>
                <c:pt idx="41">
                  <c:v>25</c:v>
                </c:pt>
                <c:pt idx="42">
                  <c:v>26</c:v>
                </c:pt>
                <c:pt idx="43">
                  <c:v>30</c:v>
                </c:pt>
                <c:pt idx="44">
                  <c:v>19</c:v>
                </c:pt>
                <c:pt idx="45">
                  <c:v>21</c:v>
                </c:pt>
                <c:pt idx="46">
                  <c:v>22</c:v>
                </c:pt>
                <c:pt idx="47">
                  <c:v>37</c:v>
                </c:pt>
                <c:pt idx="48">
                  <c:v>25</c:v>
                </c:pt>
                <c:pt idx="49">
                  <c:v>22</c:v>
                </c:pt>
                <c:pt idx="50">
                  <c:v>38</c:v>
                </c:pt>
                <c:pt idx="51">
                  <c:v>36</c:v>
                </c:pt>
                <c:pt idx="52">
                  <c:v>21</c:v>
                </c:pt>
                <c:pt idx="53">
                  <c:v>23</c:v>
                </c:pt>
                <c:pt idx="54">
                  <c:v>45</c:v>
                </c:pt>
                <c:pt idx="55">
                  <c:v>34</c:v>
                </c:pt>
                <c:pt idx="56">
                  <c:v>39</c:v>
                </c:pt>
                <c:pt idx="57">
                  <c:v>47</c:v>
                </c:pt>
                <c:pt idx="58">
                  <c:v>67</c:v>
                </c:pt>
                <c:pt idx="59">
                  <c:v>46</c:v>
                </c:pt>
                <c:pt idx="60">
                  <c:v>46</c:v>
                </c:pt>
                <c:pt idx="61">
                  <c:v>64</c:v>
                </c:pt>
                <c:pt idx="62">
                  <c:v>64</c:v>
                </c:pt>
                <c:pt idx="63">
                  <c:v>61</c:v>
                </c:pt>
                <c:pt idx="64">
                  <c:v>66</c:v>
                </c:pt>
                <c:pt idx="65">
                  <c:v>70</c:v>
                </c:pt>
                <c:pt idx="66">
                  <c:v>47</c:v>
                </c:pt>
                <c:pt idx="67">
                  <c:v>53</c:v>
                </c:pt>
                <c:pt idx="68">
                  <c:v>73</c:v>
                </c:pt>
                <c:pt idx="69">
                  <c:v>81</c:v>
                </c:pt>
                <c:pt idx="70">
                  <c:v>89</c:v>
                </c:pt>
                <c:pt idx="71">
                  <c:v>101</c:v>
                </c:pt>
                <c:pt idx="72">
                  <c:v>96</c:v>
                </c:pt>
                <c:pt idx="73">
                  <c:v>85</c:v>
                </c:pt>
                <c:pt idx="74">
                  <c:v>75</c:v>
                </c:pt>
                <c:pt idx="75">
                  <c:v>84</c:v>
                </c:pt>
                <c:pt idx="76">
                  <c:v>94</c:v>
                </c:pt>
                <c:pt idx="77">
                  <c:v>86</c:v>
                </c:pt>
                <c:pt idx="78">
                  <c:v>85</c:v>
                </c:pt>
                <c:pt idx="79">
                  <c:v>70</c:v>
                </c:pt>
                <c:pt idx="80">
                  <c:v>71</c:v>
                </c:pt>
                <c:pt idx="81">
                  <c:v>70</c:v>
                </c:pt>
                <c:pt idx="82">
                  <c:v>80</c:v>
                </c:pt>
                <c:pt idx="83">
                  <c:v>77</c:v>
                </c:pt>
                <c:pt idx="84">
                  <c:v>60</c:v>
                </c:pt>
                <c:pt idx="85">
                  <c:v>61</c:v>
                </c:pt>
                <c:pt idx="86">
                  <c:v>57</c:v>
                </c:pt>
                <c:pt idx="87">
                  <c:v>44</c:v>
                </c:pt>
                <c:pt idx="88">
                  <c:v>43</c:v>
                </c:pt>
                <c:pt idx="89">
                  <c:v>48</c:v>
                </c:pt>
                <c:pt idx="90">
                  <c:v>42</c:v>
                </c:pt>
                <c:pt idx="91">
                  <c:v>45</c:v>
                </c:pt>
                <c:pt idx="92">
                  <c:v>41</c:v>
                </c:pt>
                <c:pt idx="9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0.846009974751695</c:v>
                </c:pt>
                <c:pt idx="32">
                  <c:v>29.766717475884587</c:v>
                </c:pt>
                <c:pt idx="33">
                  <c:v>28.707431653290961</c:v>
                </c:pt>
                <c:pt idx="34">
                  <c:v>27.669047050035051</c:v>
                </c:pt>
                <c:pt idx="35">
                  <c:v>26.652325575454846</c:v>
                </c:pt>
                <c:pt idx="36">
                  <c:v>25.686842688575698</c:v>
                </c:pt>
                <c:pt idx="37">
                  <c:v>24.742090275732942</c:v>
                </c:pt>
                <c:pt idx="38">
                  <c:v>23.818591984210631</c:v>
                </c:pt>
                <c:pt idx="39">
                  <c:v>22.916782670664336</c:v>
                </c:pt>
                <c:pt idx="40">
                  <c:v>22.037038943294579</c:v>
                </c:pt>
                <c:pt idx="41">
                  <c:v>21.196661608636827</c:v>
                </c:pt>
                <c:pt idx="42">
                  <c:v>20.407356818363272</c:v>
                </c:pt>
                <c:pt idx="43">
                  <c:v>19.674666690305553</c:v>
                </c:pt>
                <c:pt idx="44">
                  <c:v>19.00037164429067</c:v>
                </c:pt>
                <c:pt idx="45">
                  <c:v>18.38416880112079</c:v>
                </c:pt>
                <c:pt idx="46">
                  <c:v>17.824614690142955</c:v>
                </c:pt>
                <c:pt idx="47">
                  <c:v>17.319621427134702</c:v>
                </c:pt>
                <c:pt idx="48">
                  <c:v>16.866547962773126</c:v>
                </c:pt>
                <c:pt idx="49">
                  <c:v>16.462319854708042</c:v>
                </c:pt>
                <c:pt idx="50">
                  <c:v>16.103447994984119</c:v>
                </c:pt>
                <c:pt idx="51">
                  <c:v>15.786358212899252</c:v>
                </c:pt>
                <c:pt idx="52">
                  <c:v>15.507348510455659</c:v>
                </c:pt>
                <c:pt idx="53">
                  <c:v>15.262774199366582</c:v>
                </c:pt>
                <c:pt idx="54">
                  <c:v>15.049164468581626</c:v>
                </c:pt>
                <c:pt idx="55">
                  <c:v>14.862854645642885</c:v>
                </c:pt>
                <c:pt idx="56">
                  <c:v>14.699522447061048</c:v>
                </c:pt>
                <c:pt idx="57">
                  <c:v>14.554874201430051</c:v>
                </c:pt>
                <c:pt idx="58">
                  <c:v>14.425193090136961</c:v>
                </c:pt>
                <c:pt idx="59">
                  <c:v>14.307351850816124</c:v>
                </c:pt>
                <c:pt idx="60">
                  <c:v>14.198700886972015</c:v>
                </c:pt>
                <c:pt idx="61">
                  <c:v>14.096990276651873</c:v>
                </c:pt>
                <c:pt idx="62">
                  <c:v>14.000280400041705</c:v>
                </c:pt>
                <c:pt idx="63">
                  <c:v>13.906784310061271</c:v>
                </c:pt>
                <c:pt idx="64">
                  <c:v>13.814943459493781</c:v>
                </c:pt>
                <c:pt idx="65">
                  <c:v>13.723488751433617</c:v>
                </c:pt>
                <c:pt idx="66">
                  <c:v>13.631376396560714</c:v>
                </c:pt>
                <c:pt idx="67">
                  <c:v>13.537807281694301</c:v>
                </c:pt>
                <c:pt idx="68">
                  <c:v>13.442173024252213</c:v>
                </c:pt>
                <c:pt idx="69">
                  <c:v>13.344013994821424</c:v>
                </c:pt>
                <c:pt idx="70">
                  <c:v>13.243016310360071</c:v>
                </c:pt>
                <c:pt idx="71">
                  <c:v>13.138982787221234</c:v>
                </c:pt>
                <c:pt idx="72">
                  <c:v>13.031810971267163</c:v>
                </c:pt>
                <c:pt idx="73">
                  <c:v>12.921461431301843</c:v>
                </c:pt>
                <c:pt idx="74">
                  <c:v>12.807954079081441</c:v>
                </c:pt>
                <c:pt idx="75">
                  <c:v>12.691375939243523</c:v>
                </c:pt>
                <c:pt idx="76">
                  <c:v>12.571861857341078</c:v>
                </c:pt>
                <c:pt idx="77">
                  <c:v>12.449571430972249</c:v>
                </c:pt>
                <c:pt idx="78">
                  <c:v>12.324660693677925</c:v>
                </c:pt>
                <c:pt idx="79">
                  <c:v>12.197288193214973</c:v>
                </c:pt>
                <c:pt idx="80">
                  <c:v>12.067607259483259</c:v>
                </c:pt>
                <c:pt idx="81">
                  <c:v>11.935793170499046</c:v>
                </c:pt>
                <c:pt idx="82">
                  <c:v>11.802035217604962</c:v>
                </c:pt>
                <c:pt idx="83">
                  <c:v>11.666521631679704</c:v>
                </c:pt>
                <c:pt idx="84">
                  <c:v>11.529441375421209</c:v>
                </c:pt>
                <c:pt idx="85">
                  <c:v>11.39097819031775</c:v>
                </c:pt>
                <c:pt idx="86">
                  <c:v>11.251308019799136</c:v>
                </c:pt>
                <c:pt idx="87">
                  <c:v>11.110598820859158</c:v>
                </c:pt>
                <c:pt idx="88">
                  <c:v>10.969010524519843</c:v>
                </c:pt>
                <c:pt idx="89">
                  <c:v>10.826688575690257</c:v>
                </c:pt>
                <c:pt idx="90">
                  <c:v>10.683771770449896</c:v>
                </c:pt>
                <c:pt idx="91">
                  <c:v>10.540392899415565</c:v>
                </c:pt>
                <c:pt idx="92">
                  <c:v>10.396677681325603</c:v>
                </c:pt>
                <c:pt idx="93">
                  <c:v>10.252744260606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0.846009974751695</c:v>
                </c:pt>
                <c:pt idx="32">
                  <c:v>29.766717475884587</c:v>
                </c:pt>
                <c:pt idx="33">
                  <c:v>28.707431653290961</c:v>
                </c:pt>
                <c:pt idx="34">
                  <c:v>27.727064540275446</c:v>
                </c:pt>
                <c:pt idx="35">
                  <c:v>26.865398071903197</c:v>
                </c:pt>
                <c:pt idx="36">
                  <c:v>26.172311156389416</c:v>
                </c:pt>
                <c:pt idx="37">
                  <c:v>25.626606782871605</c:v>
                </c:pt>
                <c:pt idx="38">
                  <c:v>25.23268465918261</c:v>
                </c:pt>
                <c:pt idx="39">
                  <c:v>24.838762535493611</c:v>
                </c:pt>
                <c:pt idx="40">
                  <c:v>24.795018774790538</c:v>
                </c:pt>
                <c:pt idx="41">
                  <c:v>24.826972637918793</c:v>
                </c:pt>
                <c:pt idx="42">
                  <c:v>24.933033910219013</c:v>
                </c:pt>
                <c:pt idx="43">
                  <c:v>25.110862961216611</c:v>
                </c:pt>
                <c:pt idx="44">
                  <c:v>25.357858894115054</c:v>
                </c:pt>
                <c:pt idx="45">
                  <c:v>25.671018034441104</c:v>
                </c:pt>
                <c:pt idx="46">
                  <c:v>26.047205214056799</c:v>
                </c:pt>
                <c:pt idx="47">
                  <c:v>26.483314639115797</c:v>
                </c:pt>
                <c:pt idx="48">
                  <c:v>26.975613727491737</c:v>
                </c:pt>
                <c:pt idx="49">
                  <c:v>27.5189210718673</c:v>
                </c:pt>
                <c:pt idx="50">
                  <c:v>28.107754180132876</c:v>
                </c:pt>
                <c:pt idx="51">
                  <c:v>28.737218377142995</c:v>
                </c:pt>
                <c:pt idx="52">
                  <c:v>29.402992196766355</c:v>
                </c:pt>
                <c:pt idx="53">
                  <c:v>30.1011349399366</c:v>
                </c:pt>
                <c:pt idx="54">
                  <c:v>30.827971387812134</c:v>
                </c:pt>
                <c:pt idx="55">
                  <c:v>31.57996160670405</c:v>
                </c:pt>
                <c:pt idx="56">
                  <c:v>32.35345411977292</c:v>
                </c:pt>
                <c:pt idx="57">
                  <c:v>33.144833312132903</c:v>
                </c:pt>
                <c:pt idx="58">
                  <c:v>33.950638918821582</c:v>
                </c:pt>
                <c:pt idx="59">
                  <c:v>34.767469427351941</c:v>
                </c:pt>
                <c:pt idx="60">
                  <c:v>35.592038576286463</c:v>
                </c:pt>
                <c:pt idx="61">
                  <c:v>36.421106645260402</c:v>
                </c:pt>
                <c:pt idx="62">
                  <c:v>37.251434054197517</c:v>
                </c:pt>
                <c:pt idx="63">
                  <c:v>38.079718654625957</c:v>
                </c:pt>
                <c:pt idx="64">
                  <c:v>38.902596348342072</c:v>
                </c:pt>
                <c:pt idx="65">
                  <c:v>39.716662038981163</c:v>
                </c:pt>
                <c:pt idx="66">
                  <c:v>40.518457208766861</c:v>
                </c:pt>
                <c:pt idx="67">
                  <c:v>41.304500499564782</c:v>
                </c:pt>
                <c:pt idx="68">
                  <c:v>42.071336167783912</c:v>
                </c:pt>
                <c:pt idx="69">
                  <c:v>42.815535226426796</c:v>
                </c:pt>
                <c:pt idx="70">
                  <c:v>43.533858668030746</c:v>
                </c:pt>
                <c:pt idx="71">
                  <c:v>44.223198929470243</c:v>
                </c:pt>
                <c:pt idx="72">
                  <c:v>44.880576610475629</c:v>
                </c:pt>
                <c:pt idx="73">
                  <c:v>45.50313043340357</c:v>
                </c:pt>
                <c:pt idx="74">
                  <c:v>46.088180135043594</c:v>
                </c:pt>
                <c:pt idx="75">
                  <c:v>46.633232370659414</c:v>
                </c:pt>
                <c:pt idx="76">
                  <c:v>47.135976977718201</c:v>
                </c:pt>
                <c:pt idx="77">
                  <c:v>47.594310316822373</c:v>
                </c:pt>
                <c:pt idx="78">
                  <c:v>48.006345649778517</c:v>
                </c:pt>
                <c:pt idx="79">
                  <c:v>48.370423195767088</c:v>
                </c:pt>
                <c:pt idx="80">
                  <c:v>48.685122045074991</c:v>
                </c:pt>
                <c:pt idx="81">
                  <c:v>48.949268960894649</c:v>
                </c:pt>
                <c:pt idx="82">
                  <c:v>49.161936037017334</c:v>
                </c:pt>
                <c:pt idx="83">
                  <c:v>49.322459982684506</c:v>
                </c:pt>
                <c:pt idx="84">
                  <c:v>49.430443382564206</c:v>
                </c:pt>
                <c:pt idx="85">
                  <c:v>49.485746814916816</c:v>
                </c:pt>
                <c:pt idx="86">
                  <c:v>49.48848481932918</c:v>
                </c:pt>
                <c:pt idx="87">
                  <c:v>49.439025244148716</c:v>
                </c:pt>
                <c:pt idx="88">
                  <c:v>49.33798590051952</c:v>
                </c:pt>
                <c:pt idx="89">
                  <c:v>49.186228592885676</c:v>
                </c:pt>
                <c:pt idx="90">
                  <c:v>48.984850354239143</c:v>
                </c:pt>
                <c:pt idx="91">
                  <c:v>48.735172137779593</c:v>
                </c:pt>
                <c:pt idx="92">
                  <c:v>48.438723694981526</c:v>
                </c:pt>
                <c:pt idx="93">
                  <c:v>48.0972280303387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0.846009974751695</c:v>
                </c:pt>
                <c:pt idx="32">
                  <c:v>29.766717475884587</c:v>
                </c:pt>
                <c:pt idx="33">
                  <c:v>28.707431653290961</c:v>
                </c:pt>
                <c:pt idx="34">
                  <c:v>27.727064540275446</c:v>
                </c:pt>
                <c:pt idx="35">
                  <c:v>26.865398071903197</c:v>
                </c:pt>
                <c:pt idx="36">
                  <c:v>26.172311156389416</c:v>
                </c:pt>
                <c:pt idx="37">
                  <c:v>25.626606782871605</c:v>
                </c:pt>
                <c:pt idx="38">
                  <c:v>25.23268465918261</c:v>
                </c:pt>
                <c:pt idx="39">
                  <c:v>24.992043573198057</c:v>
                </c:pt>
                <c:pt idx="40">
                  <c:v>24.904556051791914</c:v>
                </c:pt>
                <c:pt idx="41">
                  <c:v>24.968463778048413</c:v>
                </c:pt>
                <c:pt idx="42">
                  <c:v>25.180586322648853</c:v>
                </c:pt>
                <c:pt idx="43">
                  <c:v>25.536244424644064</c:v>
                </c:pt>
                <c:pt idx="44">
                  <c:v>26.030236290440939</c:v>
                </c:pt>
                <c:pt idx="45">
                  <c:v>26.656554571093043</c:v>
                </c:pt>
                <c:pt idx="46">
                  <c:v>27.408928930324432</c:v>
                </c:pt>
                <c:pt idx="47">
                  <c:v>28.281147780442438</c:v>
                </c:pt>
                <c:pt idx="48">
                  <c:v>29.265745957194316</c:v>
                </c:pt>
                <c:pt idx="49">
                  <c:v>30.352360645945438</c:v>
                </c:pt>
                <c:pt idx="50">
                  <c:v>31.530026862476593</c:v>
                </c:pt>
                <c:pt idx="51">
                  <c:v>32.788955256496834</c:v>
                </c:pt>
                <c:pt idx="52">
                  <c:v>34.120502895743542</c:v>
                </c:pt>
                <c:pt idx="53">
                  <c:v>35.516788382084023</c:v>
                </c:pt>
                <c:pt idx="54">
                  <c:v>36.970461277835113</c:v>
                </c:pt>
                <c:pt idx="55">
                  <c:v>38.474441715618937</c:v>
                </c:pt>
                <c:pt idx="56">
                  <c:v>40.02142674175667</c:v>
                </c:pt>
                <c:pt idx="57">
                  <c:v>41.604185126476636</c:v>
                </c:pt>
                <c:pt idx="58">
                  <c:v>43.215796339853988</c:v>
                </c:pt>
                <c:pt idx="59">
                  <c:v>44.849457356914726</c:v>
                </c:pt>
                <c:pt idx="60">
                  <c:v>46.498595654783763</c:v>
                </c:pt>
                <c:pt idx="61">
                  <c:v>48.15673179273162</c:v>
                </c:pt>
                <c:pt idx="62">
                  <c:v>49.817386610605872</c:v>
                </c:pt>
                <c:pt idx="63">
                  <c:v>51.473955811462758</c:v>
                </c:pt>
                <c:pt idx="64">
                  <c:v>53.119711198894976</c:v>
                </c:pt>
                <c:pt idx="65">
                  <c:v>54.747842580173142</c:v>
                </c:pt>
                <c:pt idx="66">
                  <c:v>56.351432919744553</c:v>
                </c:pt>
                <c:pt idx="67">
                  <c:v>57.923519501340387</c:v>
                </c:pt>
                <c:pt idx="68">
                  <c:v>59.457190837778654</c:v>
                </c:pt>
                <c:pt idx="69">
                  <c:v>60.945588955064409</c:v>
                </c:pt>
                <c:pt idx="70">
                  <c:v>62.382235838272308</c:v>
                </c:pt>
                <c:pt idx="71">
                  <c:v>63.760916361151331</c:v>
                </c:pt>
                <c:pt idx="72">
                  <c:v>65.075671723162102</c:v>
                </c:pt>
                <c:pt idx="73">
                  <c:v>66.32077936901797</c:v>
                </c:pt>
                <c:pt idx="74">
                  <c:v>67.490878772298018</c:v>
                </c:pt>
                <c:pt idx="75">
                  <c:v>68.580983243529673</c:v>
                </c:pt>
                <c:pt idx="76">
                  <c:v>69.586472457647233</c:v>
                </c:pt>
                <c:pt idx="77">
                  <c:v>70.503139135855548</c:v>
                </c:pt>
                <c:pt idx="78">
                  <c:v>71.327209801767864</c:v>
                </c:pt>
                <c:pt idx="79">
                  <c:v>72.055364893744979</c:v>
                </c:pt>
                <c:pt idx="80">
                  <c:v>72.684762592360812</c:v>
                </c:pt>
                <c:pt idx="81">
                  <c:v>73.213056424000129</c:v>
                </c:pt>
                <c:pt idx="82">
                  <c:v>73.638390576245484</c:v>
                </c:pt>
                <c:pt idx="83">
                  <c:v>73.95943846757983</c:v>
                </c:pt>
                <c:pt idx="84">
                  <c:v>74.175405267339244</c:v>
                </c:pt>
                <c:pt idx="85">
                  <c:v>74.28601213204449</c:v>
                </c:pt>
                <c:pt idx="86">
                  <c:v>74.291488140869191</c:v>
                </c:pt>
                <c:pt idx="87">
                  <c:v>74.192568990508263</c:v>
                </c:pt>
                <c:pt idx="88">
                  <c:v>73.990490303249842</c:v>
                </c:pt>
                <c:pt idx="89">
                  <c:v>73.686975687982169</c:v>
                </c:pt>
                <c:pt idx="90">
                  <c:v>73.284219210689116</c:v>
                </c:pt>
                <c:pt idx="91">
                  <c:v>72.784862777770002</c:v>
                </c:pt>
                <c:pt idx="92">
                  <c:v>72.191965892173855</c:v>
                </c:pt>
                <c:pt idx="93">
                  <c:v>71.5089745628882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412</c:v>
                </c:pt>
                <c:pt idx="1">
                  <c:v>438</c:v>
                </c:pt>
                <c:pt idx="2">
                  <c:v>441</c:v>
                </c:pt>
                <c:pt idx="3">
                  <c:v>367</c:v>
                </c:pt>
                <c:pt idx="4">
                  <c:v>396</c:v>
                </c:pt>
                <c:pt idx="5">
                  <c:v>409</c:v>
                </c:pt>
                <c:pt idx="6">
                  <c:v>416</c:v>
                </c:pt>
                <c:pt idx="7">
                  <c:v>414</c:v>
                </c:pt>
                <c:pt idx="8">
                  <c:v>408</c:v>
                </c:pt>
                <c:pt idx="9">
                  <c:v>357</c:v>
                </c:pt>
                <c:pt idx="10">
                  <c:v>306</c:v>
                </c:pt>
                <c:pt idx="11">
                  <c:v>315</c:v>
                </c:pt>
                <c:pt idx="12">
                  <c:v>420</c:v>
                </c:pt>
                <c:pt idx="13">
                  <c:v>394</c:v>
                </c:pt>
                <c:pt idx="14">
                  <c:v>387</c:v>
                </c:pt>
                <c:pt idx="15">
                  <c:v>389</c:v>
                </c:pt>
                <c:pt idx="16">
                  <c:v>300</c:v>
                </c:pt>
                <c:pt idx="17">
                  <c:v>284</c:v>
                </c:pt>
                <c:pt idx="18">
                  <c:v>291</c:v>
                </c:pt>
                <c:pt idx="19">
                  <c:v>392</c:v>
                </c:pt>
                <c:pt idx="20">
                  <c:v>358</c:v>
                </c:pt>
                <c:pt idx="21">
                  <c:v>332</c:v>
                </c:pt>
                <c:pt idx="22">
                  <c:v>244</c:v>
                </c:pt>
                <c:pt idx="23">
                  <c:v>222</c:v>
                </c:pt>
                <c:pt idx="24">
                  <c:v>228</c:v>
                </c:pt>
                <c:pt idx="25">
                  <c:v>236</c:v>
                </c:pt>
                <c:pt idx="26">
                  <c:v>327</c:v>
                </c:pt>
                <c:pt idx="27">
                  <c:v>327</c:v>
                </c:pt>
                <c:pt idx="28">
                  <c:v>289</c:v>
                </c:pt>
                <c:pt idx="29">
                  <c:v>278</c:v>
                </c:pt>
                <c:pt idx="30">
                  <c:v>261</c:v>
                </c:pt>
                <c:pt idx="31">
                  <c:v>235</c:v>
                </c:pt>
                <c:pt idx="32">
                  <c:v>239</c:v>
                </c:pt>
                <c:pt idx="33">
                  <c:v>258</c:v>
                </c:pt>
                <c:pt idx="34">
                  <c:v>265</c:v>
                </c:pt>
                <c:pt idx="35">
                  <c:v>247</c:v>
                </c:pt>
                <c:pt idx="36">
                  <c:v>239</c:v>
                </c:pt>
                <c:pt idx="37">
                  <c:v>229</c:v>
                </c:pt>
                <c:pt idx="38">
                  <c:v>173</c:v>
                </c:pt>
                <c:pt idx="39">
                  <c:v>172</c:v>
                </c:pt>
                <c:pt idx="40">
                  <c:v>179</c:v>
                </c:pt>
                <c:pt idx="41">
                  <c:v>197</c:v>
                </c:pt>
                <c:pt idx="42">
                  <c:v>193</c:v>
                </c:pt>
                <c:pt idx="43">
                  <c:v>183</c:v>
                </c:pt>
                <c:pt idx="44">
                  <c:v>184</c:v>
                </c:pt>
                <c:pt idx="45">
                  <c:v>157</c:v>
                </c:pt>
                <c:pt idx="46">
                  <c:v>158</c:v>
                </c:pt>
                <c:pt idx="47">
                  <c:v>180</c:v>
                </c:pt>
                <c:pt idx="48">
                  <c:v>162</c:v>
                </c:pt>
                <c:pt idx="49">
                  <c:v>157</c:v>
                </c:pt>
                <c:pt idx="50">
                  <c:v>154</c:v>
                </c:pt>
                <c:pt idx="51">
                  <c:v>117</c:v>
                </c:pt>
                <c:pt idx="52">
                  <c:v>113</c:v>
                </c:pt>
                <c:pt idx="53">
                  <c:v>115</c:v>
                </c:pt>
                <c:pt idx="54">
                  <c:v>150</c:v>
                </c:pt>
                <c:pt idx="55">
                  <c:v>147</c:v>
                </c:pt>
                <c:pt idx="56">
                  <c:v>140</c:v>
                </c:pt>
                <c:pt idx="57">
                  <c:v>158</c:v>
                </c:pt>
                <c:pt idx="58">
                  <c:v>176</c:v>
                </c:pt>
                <c:pt idx="59">
                  <c:v>147</c:v>
                </c:pt>
                <c:pt idx="60">
                  <c:v>157</c:v>
                </c:pt>
                <c:pt idx="61">
                  <c:v>190</c:v>
                </c:pt>
                <c:pt idx="62">
                  <c:v>190</c:v>
                </c:pt>
                <c:pt idx="63">
                  <c:v>192</c:v>
                </c:pt>
                <c:pt idx="64">
                  <c:v>198</c:v>
                </c:pt>
                <c:pt idx="65">
                  <c:v>209</c:v>
                </c:pt>
                <c:pt idx="66">
                  <c:v>197</c:v>
                </c:pt>
                <c:pt idx="67">
                  <c:v>200</c:v>
                </c:pt>
                <c:pt idx="68">
                  <c:v>261</c:v>
                </c:pt>
                <c:pt idx="69">
                  <c:v>268</c:v>
                </c:pt>
                <c:pt idx="70">
                  <c:v>268</c:v>
                </c:pt>
                <c:pt idx="71">
                  <c:v>257</c:v>
                </c:pt>
                <c:pt idx="72">
                  <c:v>258</c:v>
                </c:pt>
                <c:pt idx="73">
                  <c:v>222</c:v>
                </c:pt>
                <c:pt idx="74">
                  <c:v>226</c:v>
                </c:pt>
                <c:pt idx="75">
                  <c:v>285</c:v>
                </c:pt>
                <c:pt idx="76">
                  <c:v>269</c:v>
                </c:pt>
                <c:pt idx="77">
                  <c:v>273</c:v>
                </c:pt>
                <c:pt idx="78">
                  <c:v>267</c:v>
                </c:pt>
                <c:pt idx="79">
                  <c:v>189</c:v>
                </c:pt>
                <c:pt idx="80">
                  <c:v>196</c:v>
                </c:pt>
                <c:pt idx="81">
                  <c:v>193</c:v>
                </c:pt>
                <c:pt idx="82">
                  <c:v>214</c:v>
                </c:pt>
                <c:pt idx="83">
                  <c:v>191</c:v>
                </c:pt>
                <c:pt idx="84">
                  <c:v>219</c:v>
                </c:pt>
                <c:pt idx="85">
                  <c:v>237</c:v>
                </c:pt>
                <c:pt idx="86">
                  <c:v>205</c:v>
                </c:pt>
                <c:pt idx="87">
                  <c:v>181</c:v>
                </c:pt>
                <c:pt idx="88">
                  <c:v>178</c:v>
                </c:pt>
                <c:pt idx="89">
                  <c:v>221</c:v>
                </c:pt>
                <c:pt idx="90">
                  <c:v>147</c:v>
                </c:pt>
                <c:pt idx="91">
                  <c:v>141</c:v>
                </c:pt>
                <c:pt idx="92">
                  <c:v>148</c:v>
                </c:pt>
                <c:pt idx="93">
                  <c:v>1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08.46009974751689</c:v>
                </c:pt>
                <c:pt idx="32">
                  <c:v>297.66717475884582</c:v>
                </c:pt>
                <c:pt idx="33">
                  <c:v>287.07431653290956</c:v>
                </c:pt>
                <c:pt idx="34">
                  <c:v>276.69047050035044</c:v>
                </c:pt>
                <c:pt idx="35">
                  <c:v>266.52325575454842</c:v>
                </c:pt>
                <c:pt idx="36">
                  <c:v>256.86842688575695</c:v>
                </c:pt>
                <c:pt idx="37">
                  <c:v>247.42090275732937</c:v>
                </c:pt>
                <c:pt idx="38">
                  <c:v>238.18591984210627</c:v>
                </c:pt>
                <c:pt idx="39">
                  <c:v>229.1678267066433</c:v>
                </c:pt>
                <c:pt idx="40">
                  <c:v>220.37038943294576</c:v>
                </c:pt>
                <c:pt idx="41">
                  <c:v>211.96661608636825</c:v>
                </c:pt>
                <c:pt idx="42">
                  <c:v>204.07356818363272</c:v>
                </c:pt>
                <c:pt idx="43">
                  <c:v>196.74666690305548</c:v>
                </c:pt>
                <c:pt idx="44">
                  <c:v>190.00371644290666</c:v>
                </c:pt>
                <c:pt idx="45">
                  <c:v>183.84168801120788</c:v>
                </c:pt>
                <c:pt idx="46">
                  <c:v>178.24614690142951</c:v>
                </c:pt>
                <c:pt idx="47">
                  <c:v>173.196214271347</c:v>
                </c:pt>
                <c:pt idx="48">
                  <c:v>168.66547962773123</c:v>
                </c:pt>
                <c:pt idx="49">
                  <c:v>164.62319854708042</c:v>
                </c:pt>
                <c:pt idx="50">
                  <c:v>161.03447994984117</c:v>
                </c:pt>
                <c:pt idx="51">
                  <c:v>157.8635821289925</c:v>
                </c:pt>
                <c:pt idx="52">
                  <c:v>155.07348510455657</c:v>
                </c:pt>
                <c:pt idx="53">
                  <c:v>152.62774199366578</c:v>
                </c:pt>
                <c:pt idx="54">
                  <c:v>150.49164468581623</c:v>
                </c:pt>
                <c:pt idx="55">
                  <c:v>148.62854645642884</c:v>
                </c:pt>
                <c:pt idx="56">
                  <c:v>146.99522447061045</c:v>
                </c:pt>
                <c:pt idx="57">
                  <c:v>145.5487420143005</c:v>
                </c:pt>
                <c:pt idx="58">
                  <c:v>144.2519309013696</c:v>
                </c:pt>
                <c:pt idx="59">
                  <c:v>143.07351850816121</c:v>
                </c:pt>
                <c:pt idx="60">
                  <c:v>141.98700886972011</c:v>
                </c:pt>
                <c:pt idx="61">
                  <c:v>140.96990276651871</c:v>
                </c:pt>
                <c:pt idx="62">
                  <c:v>140.00280400041703</c:v>
                </c:pt>
                <c:pt idx="63">
                  <c:v>139.06784310061269</c:v>
                </c:pt>
                <c:pt idx="64">
                  <c:v>138.14943459493779</c:v>
                </c:pt>
                <c:pt idx="65">
                  <c:v>137.23488751433615</c:v>
                </c:pt>
                <c:pt idx="66">
                  <c:v>136.31376396560714</c:v>
                </c:pt>
                <c:pt idx="67">
                  <c:v>135.37807281694299</c:v>
                </c:pt>
                <c:pt idx="68">
                  <c:v>134.4217302425221</c:v>
                </c:pt>
                <c:pt idx="69">
                  <c:v>133.44013994821421</c:v>
                </c:pt>
                <c:pt idx="70">
                  <c:v>132.43016310360068</c:v>
                </c:pt>
                <c:pt idx="71">
                  <c:v>131.38982787221232</c:v>
                </c:pt>
                <c:pt idx="72">
                  <c:v>130.3181097126716</c:v>
                </c:pt>
                <c:pt idx="73">
                  <c:v>129.21461431301842</c:v>
                </c:pt>
                <c:pt idx="74">
                  <c:v>128.07954079081438</c:v>
                </c:pt>
                <c:pt idx="75">
                  <c:v>126.91375939243521</c:v>
                </c:pt>
                <c:pt idx="76">
                  <c:v>125.71861857341075</c:v>
                </c:pt>
                <c:pt idx="77">
                  <c:v>124.49571430972247</c:v>
                </c:pt>
                <c:pt idx="78">
                  <c:v>123.24660693677923</c:v>
                </c:pt>
                <c:pt idx="79">
                  <c:v>121.9728819321497</c:v>
                </c:pt>
                <c:pt idx="80">
                  <c:v>120.67607259483258</c:v>
                </c:pt>
                <c:pt idx="81">
                  <c:v>119.35793170499043</c:v>
                </c:pt>
                <c:pt idx="82">
                  <c:v>118.0203521760496</c:v>
                </c:pt>
                <c:pt idx="83">
                  <c:v>116.66521631679703</c:v>
                </c:pt>
                <c:pt idx="84">
                  <c:v>115.29441375421207</c:v>
                </c:pt>
                <c:pt idx="85">
                  <c:v>113.90978190317747</c:v>
                </c:pt>
                <c:pt idx="86">
                  <c:v>112.51308019799134</c:v>
                </c:pt>
                <c:pt idx="87">
                  <c:v>111.10598820859157</c:v>
                </c:pt>
                <c:pt idx="88">
                  <c:v>109.69010524519842</c:v>
                </c:pt>
                <c:pt idx="89">
                  <c:v>108.26688575690255</c:v>
                </c:pt>
                <c:pt idx="90">
                  <c:v>106.83771770449894</c:v>
                </c:pt>
                <c:pt idx="91">
                  <c:v>105.40392899415562</c:v>
                </c:pt>
                <c:pt idx="92">
                  <c:v>103.96677681325602</c:v>
                </c:pt>
                <c:pt idx="93">
                  <c:v>102.52744260606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08.46009974751689</c:v>
                </c:pt>
                <c:pt idx="32">
                  <c:v>297.66717475884582</c:v>
                </c:pt>
                <c:pt idx="33">
                  <c:v>287.07431653290956</c:v>
                </c:pt>
                <c:pt idx="34">
                  <c:v>277.27064540275444</c:v>
                </c:pt>
                <c:pt idx="35">
                  <c:v>268.65398071903195</c:v>
                </c:pt>
                <c:pt idx="36">
                  <c:v>261.72311156389412</c:v>
                </c:pt>
                <c:pt idx="37">
                  <c:v>256.26606782871602</c:v>
                </c:pt>
                <c:pt idx="38">
                  <c:v>252.32684659182604</c:v>
                </c:pt>
                <c:pt idx="39">
                  <c:v>248.38762535493606</c:v>
                </c:pt>
                <c:pt idx="40">
                  <c:v>247.95018774790535</c:v>
                </c:pt>
                <c:pt idx="41">
                  <c:v>248.26972637918789</c:v>
                </c:pt>
                <c:pt idx="42">
                  <c:v>249.33033910219007</c:v>
                </c:pt>
                <c:pt idx="43">
                  <c:v>251.10862961216608</c:v>
                </c:pt>
                <c:pt idx="44">
                  <c:v>253.57858894115051</c:v>
                </c:pt>
                <c:pt idx="45">
                  <c:v>256.71018034441101</c:v>
                </c:pt>
                <c:pt idx="46">
                  <c:v>260.47205214056794</c:v>
                </c:pt>
                <c:pt idx="47">
                  <c:v>264.83314639115792</c:v>
                </c:pt>
                <c:pt idx="48">
                  <c:v>269.75613727491736</c:v>
                </c:pt>
                <c:pt idx="49">
                  <c:v>275.189210718673</c:v>
                </c:pt>
                <c:pt idx="50">
                  <c:v>281.07754180132872</c:v>
                </c:pt>
                <c:pt idx="51">
                  <c:v>287.37218377142989</c:v>
                </c:pt>
                <c:pt idx="52">
                  <c:v>294.02992196766354</c:v>
                </c:pt>
                <c:pt idx="53">
                  <c:v>301.01134939936594</c:v>
                </c:pt>
                <c:pt idx="54">
                  <c:v>308.2797138781213</c:v>
                </c:pt>
                <c:pt idx="55">
                  <c:v>315.79961606704046</c:v>
                </c:pt>
                <c:pt idx="56">
                  <c:v>323.5345411977292</c:v>
                </c:pt>
                <c:pt idx="57">
                  <c:v>331.44833312132897</c:v>
                </c:pt>
                <c:pt idx="58">
                  <c:v>339.50638918821573</c:v>
                </c:pt>
                <c:pt idx="59">
                  <c:v>347.67469427351938</c:v>
                </c:pt>
                <c:pt idx="60">
                  <c:v>355.92038576286456</c:v>
                </c:pt>
                <c:pt idx="61">
                  <c:v>364.21106645260392</c:v>
                </c:pt>
                <c:pt idx="62">
                  <c:v>372.51434054197512</c:v>
                </c:pt>
                <c:pt idx="63">
                  <c:v>380.79718654625952</c:v>
                </c:pt>
                <c:pt idx="64">
                  <c:v>389.02596348342064</c:v>
                </c:pt>
                <c:pt idx="65">
                  <c:v>397.16662038981161</c:v>
                </c:pt>
                <c:pt idx="66">
                  <c:v>405.18457208766858</c:v>
                </c:pt>
                <c:pt idx="67">
                  <c:v>413.04500499564779</c:v>
                </c:pt>
                <c:pt idx="68">
                  <c:v>420.71336167783903</c:v>
                </c:pt>
                <c:pt idx="69">
                  <c:v>428.15535226426795</c:v>
                </c:pt>
                <c:pt idx="70">
                  <c:v>435.3385866803074</c:v>
                </c:pt>
                <c:pt idx="71">
                  <c:v>442.23198929470237</c:v>
                </c:pt>
                <c:pt idx="72">
                  <c:v>448.80576610475623</c:v>
                </c:pt>
                <c:pt idx="73">
                  <c:v>455.03130433403567</c:v>
                </c:pt>
                <c:pt idx="74">
                  <c:v>460.88180135043586</c:v>
                </c:pt>
                <c:pt idx="75">
                  <c:v>466.33232370659408</c:v>
                </c:pt>
                <c:pt idx="76">
                  <c:v>471.35976977718195</c:v>
                </c:pt>
                <c:pt idx="77">
                  <c:v>475.94310316822367</c:v>
                </c:pt>
                <c:pt idx="78">
                  <c:v>480.06345649778507</c:v>
                </c:pt>
                <c:pt idx="79">
                  <c:v>483.7042319576708</c:v>
                </c:pt>
                <c:pt idx="80">
                  <c:v>486.85122045074985</c:v>
                </c:pt>
                <c:pt idx="81">
                  <c:v>489.49268960894642</c:v>
                </c:pt>
                <c:pt idx="82">
                  <c:v>491.61936037017324</c:v>
                </c:pt>
                <c:pt idx="83">
                  <c:v>493.22459982684495</c:v>
                </c:pt>
                <c:pt idx="84">
                  <c:v>494.30443382564204</c:v>
                </c:pt>
                <c:pt idx="85">
                  <c:v>494.85746814916808</c:v>
                </c:pt>
                <c:pt idx="86">
                  <c:v>494.8848481932917</c:v>
                </c:pt>
                <c:pt idx="87">
                  <c:v>494.39025244148712</c:v>
                </c:pt>
                <c:pt idx="88">
                  <c:v>493.3798590051951</c:v>
                </c:pt>
                <c:pt idx="89">
                  <c:v>491.86228592885664</c:v>
                </c:pt>
                <c:pt idx="90">
                  <c:v>489.84850354239131</c:v>
                </c:pt>
                <c:pt idx="91">
                  <c:v>487.35172137779585</c:v>
                </c:pt>
                <c:pt idx="92">
                  <c:v>484.38723694981519</c:v>
                </c:pt>
                <c:pt idx="93">
                  <c:v>480.97228030338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08.46009974751689</c:v>
                </c:pt>
                <c:pt idx="32">
                  <c:v>297.66717475884582</c:v>
                </c:pt>
                <c:pt idx="33">
                  <c:v>287.07431653290956</c:v>
                </c:pt>
                <c:pt idx="34">
                  <c:v>277.27064540275444</c:v>
                </c:pt>
                <c:pt idx="35">
                  <c:v>268.65398071903195</c:v>
                </c:pt>
                <c:pt idx="36">
                  <c:v>261.72311156389412</c:v>
                </c:pt>
                <c:pt idx="37">
                  <c:v>256.26606782871602</c:v>
                </c:pt>
                <c:pt idx="38">
                  <c:v>252.32684659182604</c:v>
                </c:pt>
                <c:pt idx="39">
                  <c:v>249.92043573198055</c:v>
                </c:pt>
                <c:pt idx="40">
                  <c:v>249.04556051791909</c:v>
                </c:pt>
                <c:pt idx="41">
                  <c:v>249.68463778048411</c:v>
                </c:pt>
                <c:pt idx="42">
                  <c:v>251.8058632264885</c:v>
                </c:pt>
                <c:pt idx="43">
                  <c:v>255.36244424644059</c:v>
                </c:pt>
                <c:pt idx="44">
                  <c:v>260.30236290440939</c:v>
                </c:pt>
                <c:pt idx="45">
                  <c:v>266.56554571093039</c:v>
                </c:pt>
                <c:pt idx="46">
                  <c:v>274.0892893032443</c:v>
                </c:pt>
                <c:pt idx="47">
                  <c:v>282.81147780442433</c:v>
                </c:pt>
                <c:pt idx="48">
                  <c:v>292.65745957194309</c:v>
                </c:pt>
                <c:pt idx="49">
                  <c:v>303.5236064594543</c:v>
                </c:pt>
                <c:pt idx="50">
                  <c:v>315.30026862476586</c:v>
                </c:pt>
                <c:pt idx="51">
                  <c:v>327.88955256496826</c:v>
                </c:pt>
                <c:pt idx="52">
                  <c:v>341.20502895743533</c:v>
                </c:pt>
                <c:pt idx="53">
                  <c:v>355.16788382084019</c:v>
                </c:pt>
                <c:pt idx="54">
                  <c:v>369.70461277835108</c:v>
                </c:pt>
                <c:pt idx="55">
                  <c:v>384.74441715618929</c:v>
                </c:pt>
                <c:pt idx="56">
                  <c:v>400.21426741756665</c:v>
                </c:pt>
                <c:pt idx="57">
                  <c:v>416.04185126476631</c:v>
                </c:pt>
                <c:pt idx="58">
                  <c:v>432.15796339853978</c:v>
                </c:pt>
                <c:pt idx="59">
                  <c:v>448.49457356914718</c:v>
                </c:pt>
                <c:pt idx="60">
                  <c:v>464.98595654783753</c:v>
                </c:pt>
                <c:pt idx="61">
                  <c:v>481.56731792731614</c:v>
                </c:pt>
                <c:pt idx="62">
                  <c:v>498.17386610605865</c:v>
                </c:pt>
                <c:pt idx="63">
                  <c:v>514.73955811462747</c:v>
                </c:pt>
                <c:pt idx="64">
                  <c:v>531.1971119889497</c:v>
                </c:pt>
                <c:pt idx="65">
                  <c:v>547.47842580173131</c:v>
                </c:pt>
                <c:pt idx="66">
                  <c:v>563.51432919744548</c:v>
                </c:pt>
                <c:pt idx="67">
                  <c:v>579.23519501340377</c:v>
                </c:pt>
                <c:pt idx="68">
                  <c:v>594.57190837778637</c:v>
                </c:pt>
                <c:pt idx="69">
                  <c:v>609.45588955064397</c:v>
                </c:pt>
                <c:pt idx="70">
                  <c:v>623.822358382723</c:v>
                </c:pt>
                <c:pt idx="71">
                  <c:v>637.60916361151317</c:v>
                </c:pt>
                <c:pt idx="72">
                  <c:v>650.75671723162088</c:v>
                </c:pt>
                <c:pt idx="73">
                  <c:v>663.20779369017964</c:v>
                </c:pt>
                <c:pt idx="74">
                  <c:v>674.90878772298004</c:v>
                </c:pt>
                <c:pt idx="75">
                  <c:v>685.8098324352967</c:v>
                </c:pt>
                <c:pt idx="76">
                  <c:v>695.86472457647221</c:v>
                </c:pt>
                <c:pt idx="77">
                  <c:v>705.03139135855542</c:v>
                </c:pt>
                <c:pt idx="78">
                  <c:v>713.27209801767856</c:v>
                </c:pt>
                <c:pt idx="79">
                  <c:v>720.55364893744968</c:v>
                </c:pt>
                <c:pt idx="80">
                  <c:v>726.84762592360801</c:v>
                </c:pt>
                <c:pt idx="81">
                  <c:v>732.13056424000115</c:v>
                </c:pt>
                <c:pt idx="82">
                  <c:v>736.38390576245479</c:v>
                </c:pt>
                <c:pt idx="83">
                  <c:v>739.59438467579821</c:v>
                </c:pt>
                <c:pt idx="84">
                  <c:v>741.75405267339227</c:v>
                </c:pt>
                <c:pt idx="85">
                  <c:v>742.8601213204447</c:v>
                </c:pt>
                <c:pt idx="86">
                  <c:v>742.91488140869183</c:v>
                </c:pt>
                <c:pt idx="87">
                  <c:v>741.92568990508244</c:v>
                </c:pt>
                <c:pt idx="88">
                  <c:v>739.90490303249828</c:v>
                </c:pt>
                <c:pt idx="89">
                  <c:v>736.86975687982158</c:v>
                </c:pt>
                <c:pt idx="90">
                  <c:v>732.84219210689105</c:v>
                </c:pt>
                <c:pt idx="91">
                  <c:v>727.84862777769979</c:v>
                </c:pt>
                <c:pt idx="92">
                  <c:v>721.91965892173846</c:v>
                </c:pt>
                <c:pt idx="93">
                  <c:v>715.089745628882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200</c:v>
                </c:pt>
                <c:pt idx="1">
                  <c:v>205</c:v>
                </c:pt>
                <c:pt idx="2">
                  <c:v>209</c:v>
                </c:pt>
                <c:pt idx="3">
                  <c:v>202</c:v>
                </c:pt>
                <c:pt idx="4">
                  <c:v>211</c:v>
                </c:pt>
                <c:pt idx="5">
                  <c:v>224</c:v>
                </c:pt>
                <c:pt idx="6">
                  <c:v>222</c:v>
                </c:pt>
                <c:pt idx="7">
                  <c:v>213</c:v>
                </c:pt>
                <c:pt idx="8">
                  <c:v>213</c:v>
                </c:pt>
                <c:pt idx="9">
                  <c:v>208</c:v>
                </c:pt>
                <c:pt idx="10">
                  <c:v>195</c:v>
                </c:pt>
                <c:pt idx="11">
                  <c:v>196</c:v>
                </c:pt>
                <c:pt idx="12">
                  <c:v>197</c:v>
                </c:pt>
                <c:pt idx="13">
                  <c:v>192</c:v>
                </c:pt>
                <c:pt idx="14">
                  <c:v>183</c:v>
                </c:pt>
                <c:pt idx="15">
                  <c:v>181</c:v>
                </c:pt>
                <c:pt idx="16">
                  <c:v>185</c:v>
                </c:pt>
                <c:pt idx="17">
                  <c:v>165</c:v>
                </c:pt>
                <c:pt idx="18">
                  <c:v>168</c:v>
                </c:pt>
                <c:pt idx="19">
                  <c:v>180</c:v>
                </c:pt>
                <c:pt idx="20">
                  <c:v>169</c:v>
                </c:pt>
                <c:pt idx="21">
                  <c:v>155</c:v>
                </c:pt>
                <c:pt idx="22">
                  <c:v>134</c:v>
                </c:pt>
                <c:pt idx="23">
                  <c:v>114</c:v>
                </c:pt>
                <c:pt idx="24">
                  <c:v>120</c:v>
                </c:pt>
                <c:pt idx="25">
                  <c:v>126</c:v>
                </c:pt>
                <c:pt idx="26">
                  <c:v>134</c:v>
                </c:pt>
                <c:pt idx="27">
                  <c:v>130</c:v>
                </c:pt>
                <c:pt idx="28">
                  <c:v>131</c:v>
                </c:pt>
                <c:pt idx="29">
                  <c:v>137</c:v>
                </c:pt>
                <c:pt idx="30">
                  <c:v>138</c:v>
                </c:pt>
                <c:pt idx="31">
                  <c:v>124</c:v>
                </c:pt>
                <c:pt idx="32">
                  <c:v>123</c:v>
                </c:pt>
                <c:pt idx="33">
                  <c:v>137</c:v>
                </c:pt>
                <c:pt idx="34">
                  <c:v>140</c:v>
                </c:pt>
                <c:pt idx="35">
                  <c:v>130</c:v>
                </c:pt>
                <c:pt idx="36">
                  <c:v>121</c:v>
                </c:pt>
                <c:pt idx="37">
                  <c:v>117</c:v>
                </c:pt>
                <c:pt idx="38">
                  <c:v>108</c:v>
                </c:pt>
                <c:pt idx="39">
                  <c:v>104</c:v>
                </c:pt>
                <c:pt idx="40">
                  <c:v>114</c:v>
                </c:pt>
                <c:pt idx="41">
                  <c:v>109</c:v>
                </c:pt>
                <c:pt idx="42">
                  <c:v>101</c:v>
                </c:pt>
                <c:pt idx="43">
                  <c:v>102</c:v>
                </c:pt>
                <c:pt idx="44">
                  <c:v>98</c:v>
                </c:pt>
                <c:pt idx="45">
                  <c:v>87</c:v>
                </c:pt>
                <c:pt idx="46">
                  <c:v>84</c:v>
                </c:pt>
                <c:pt idx="47">
                  <c:v>89</c:v>
                </c:pt>
                <c:pt idx="48">
                  <c:v>85</c:v>
                </c:pt>
                <c:pt idx="49">
                  <c:v>92</c:v>
                </c:pt>
                <c:pt idx="50">
                  <c:v>89</c:v>
                </c:pt>
                <c:pt idx="51">
                  <c:v>87</c:v>
                </c:pt>
                <c:pt idx="52">
                  <c:v>85</c:v>
                </c:pt>
                <c:pt idx="53">
                  <c:v>88</c:v>
                </c:pt>
                <c:pt idx="54">
                  <c:v>104</c:v>
                </c:pt>
                <c:pt idx="55">
                  <c:v>114</c:v>
                </c:pt>
                <c:pt idx="56">
                  <c:v>116</c:v>
                </c:pt>
                <c:pt idx="57">
                  <c:v>114</c:v>
                </c:pt>
                <c:pt idx="58">
                  <c:v>110</c:v>
                </c:pt>
                <c:pt idx="59">
                  <c:v>107</c:v>
                </c:pt>
                <c:pt idx="60">
                  <c:v>121</c:v>
                </c:pt>
                <c:pt idx="61">
                  <c:v>141</c:v>
                </c:pt>
                <c:pt idx="62">
                  <c:v>142</c:v>
                </c:pt>
                <c:pt idx="63">
                  <c:v>138</c:v>
                </c:pt>
                <c:pt idx="64">
                  <c:v>133</c:v>
                </c:pt>
                <c:pt idx="65">
                  <c:v>145</c:v>
                </c:pt>
                <c:pt idx="66">
                  <c:v>133</c:v>
                </c:pt>
                <c:pt idx="67">
                  <c:v>145</c:v>
                </c:pt>
                <c:pt idx="68">
                  <c:v>163</c:v>
                </c:pt>
                <c:pt idx="69">
                  <c:v>166</c:v>
                </c:pt>
                <c:pt idx="70">
                  <c:v>179</c:v>
                </c:pt>
                <c:pt idx="71">
                  <c:v>186</c:v>
                </c:pt>
                <c:pt idx="72">
                  <c:v>171</c:v>
                </c:pt>
                <c:pt idx="73">
                  <c:v>169</c:v>
                </c:pt>
                <c:pt idx="74">
                  <c:v>175</c:v>
                </c:pt>
                <c:pt idx="75">
                  <c:v>196</c:v>
                </c:pt>
                <c:pt idx="76">
                  <c:v>175</c:v>
                </c:pt>
                <c:pt idx="77">
                  <c:v>157</c:v>
                </c:pt>
                <c:pt idx="78">
                  <c:v>154</c:v>
                </c:pt>
                <c:pt idx="79">
                  <c:v>162</c:v>
                </c:pt>
                <c:pt idx="80">
                  <c:v>132</c:v>
                </c:pt>
                <c:pt idx="81">
                  <c:v>149</c:v>
                </c:pt>
                <c:pt idx="82">
                  <c:v>150</c:v>
                </c:pt>
                <c:pt idx="83">
                  <c:v>132</c:v>
                </c:pt>
                <c:pt idx="84">
                  <c:v>115</c:v>
                </c:pt>
                <c:pt idx="85">
                  <c:v>107</c:v>
                </c:pt>
                <c:pt idx="86">
                  <c:v>110</c:v>
                </c:pt>
                <c:pt idx="87">
                  <c:v>102</c:v>
                </c:pt>
                <c:pt idx="88">
                  <c:v>109</c:v>
                </c:pt>
                <c:pt idx="89">
                  <c:v>125</c:v>
                </c:pt>
                <c:pt idx="90">
                  <c:v>118</c:v>
                </c:pt>
                <c:pt idx="91">
                  <c:v>113</c:v>
                </c:pt>
                <c:pt idx="92">
                  <c:v>116</c:v>
                </c:pt>
                <c:pt idx="93">
                  <c:v>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56.98863613166307</c:v>
                </c:pt>
                <c:pt idx="32">
                  <c:v>151.49565154393292</c:v>
                </c:pt>
                <c:pt idx="33">
                  <c:v>146.10448955252147</c:v>
                </c:pt>
                <c:pt idx="34">
                  <c:v>140.81970287253608</c:v>
                </c:pt>
                <c:pt idx="35">
                  <c:v>135.64516918890027</c:v>
                </c:pt>
                <c:pt idx="36">
                  <c:v>130.73141075649093</c:v>
                </c:pt>
                <c:pt idx="37">
                  <c:v>125.92315863909609</c:v>
                </c:pt>
                <c:pt idx="38">
                  <c:v>121.22307790338093</c:v>
                </c:pt>
                <c:pt idx="39">
                  <c:v>116.63338172224286</c:v>
                </c:pt>
                <c:pt idx="40">
                  <c:v>112.15598681709272</c:v>
                </c:pt>
                <c:pt idx="41">
                  <c:v>107.87894444720857</c:v>
                </c:pt>
                <c:pt idx="42">
                  <c:v>103.86183226256429</c:v>
                </c:pt>
                <c:pt idx="43">
                  <c:v>100.13285648887215</c:v>
                </c:pt>
                <c:pt idx="44">
                  <c:v>96.701078449804527</c:v>
                </c:pt>
                <c:pt idx="45">
                  <c:v>93.564956662614748</c:v>
                </c:pt>
                <c:pt idx="46">
                  <c:v>90.71714468316658</c:v>
                </c:pt>
                <c:pt idx="47">
                  <c:v>88.1470163689945</c:v>
                </c:pt>
                <c:pt idx="48">
                  <c:v>85.84113028208111</c:v>
                </c:pt>
                <c:pt idx="49">
                  <c:v>83.783839260546614</c:v>
                </c:pt>
                <c:pt idx="50">
                  <c:v>81.957385730569584</c:v>
                </c:pt>
                <c:pt idx="51">
                  <c:v>80.343579197357158</c:v>
                </c:pt>
                <c:pt idx="52">
                  <c:v>78.923578597928795</c:v>
                </c:pt>
                <c:pt idx="53">
                  <c:v>77.678834543117716</c:v>
                </c:pt>
                <c:pt idx="54">
                  <c:v>76.59168257993575</c:v>
                </c:pt>
                <c:pt idx="55">
                  <c:v>75.643471611158091</c:v>
                </c:pt>
                <c:pt idx="56">
                  <c:v>74.812203673660278</c:v>
                </c:pt>
                <c:pt idx="57">
                  <c:v>74.076026423538309</c:v>
                </c:pt>
                <c:pt idx="58">
                  <c:v>73.416023369314942</c:v>
                </c:pt>
                <c:pt idx="59">
                  <c:v>72.816278525291807</c:v>
                </c:pt>
                <c:pt idx="60">
                  <c:v>72.263306953207149</c:v>
                </c:pt>
                <c:pt idx="61">
                  <c:v>71.745657830764813</c:v>
                </c:pt>
                <c:pt idx="62">
                  <c:v>71.253459596960212</c:v>
                </c:pt>
                <c:pt idx="63">
                  <c:v>70.777617708116708</c:v>
                </c:pt>
                <c:pt idx="64">
                  <c:v>70.310200045878915</c:v>
                </c:pt>
                <c:pt idx="65">
                  <c:v>69.844747629247507</c:v>
                </c:pt>
                <c:pt idx="66">
                  <c:v>69.37594816460981</c:v>
                </c:pt>
                <c:pt idx="67">
                  <c:v>68.899734620655536</c:v>
                </c:pt>
                <c:pt idx="68">
                  <c:v>68.413010676275476</c:v>
                </c:pt>
                <c:pt idx="69">
                  <c:v>67.91343707933504</c:v>
                </c:pt>
                <c:pt idx="70">
                  <c:v>67.39941634378377</c:v>
                </c:pt>
                <c:pt idx="71">
                  <c:v>66.869944917077177</c:v>
                </c:pt>
                <c:pt idx="72">
                  <c:v>66.324501365961325</c:v>
                </c:pt>
                <c:pt idx="73">
                  <c:v>65.762885008089043</c:v>
                </c:pt>
                <c:pt idx="74">
                  <c:v>65.185197182967329</c:v>
                </c:pt>
                <c:pt idx="75">
                  <c:v>64.591880796475152</c:v>
                </c:pt>
                <c:pt idx="76">
                  <c:v>63.983622135735885</c:v>
                </c:pt>
                <c:pt idx="77">
                  <c:v>63.361233461696159</c:v>
                </c:pt>
                <c:pt idx="78">
                  <c:v>62.725508896279514</c:v>
                </c:pt>
                <c:pt idx="79">
                  <c:v>62.077255357337989</c:v>
                </c:pt>
                <c:pt idx="80">
                  <c:v>61.417253206800972</c:v>
                </c:pt>
                <c:pt idx="81">
                  <c:v>60.746394510019528</c:v>
                </c:pt>
                <c:pt idx="82">
                  <c:v>60.065642652200857</c:v>
                </c:pt>
                <c:pt idx="83">
                  <c:v>59.375955621394262</c:v>
                </c:pt>
                <c:pt idx="84">
                  <c:v>58.678295130192488</c:v>
                </c:pt>
                <c:pt idx="85">
                  <c:v>57.973596318202524</c:v>
                </c:pt>
                <c:pt idx="86">
                  <c:v>57.262754637351698</c:v>
                </c:pt>
                <c:pt idx="87">
                  <c:v>56.546624893153108</c:v>
                </c:pt>
                <c:pt idx="88">
                  <c:v>55.826021043491231</c:v>
                </c:pt>
                <c:pt idx="89">
                  <c:v>55.101683320179674</c:v>
                </c:pt>
                <c:pt idx="90">
                  <c:v>54.37431811627345</c:v>
                </c:pt>
                <c:pt idx="91">
                  <c:v>53.644601260440183</c:v>
                </c:pt>
                <c:pt idx="92">
                  <c:v>52.913172589510786</c:v>
                </c:pt>
                <c:pt idx="93">
                  <c:v>52.180633391377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56.98863613166307</c:v>
                </c:pt>
                <c:pt idx="32">
                  <c:v>151.49565154393292</c:v>
                </c:pt>
                <c:pt idx="33">
                  <c:v>146.10448955252147</c:v>
                </c:pt>
                <c:pt idx="34">
                  <c:v>141.11497887977583</c:v>
                </c:pt>
                <c:pt idx="35">
                  <c:v>136.72958693505203</c:v>
                </c:pt>
                <c:pt idx="36">
                  <c:v>133.20216897479489</c:v>
                </c:pt>
                <c:pt idx="37">
                  <c:v>130.42484427705384</c:v>
                </c:pt>
                <c:pt idx="38">
                  <c:v>128.42000485079927</c:v>
                </c:pt>
                <c:pt idx="39">
                  <c:v>126.41516542454471</c:v>
                </c:pt>
                <c:pt idx="40">
                  <c:v>126.19253457738924</c:v>
                </c:pt>
                <c:pt idx="41">
                  <c:v>126.35516155558669</c:v>
                </c:pt>
                <c:pt idx="42">
                  <c:v>126.89495307152113</c:v>
                </c:pt>
                <c:pt idx="43">
                  <c:v>127.80000173757396</c:v>
                </c:pt>
                <c:pt idx="44">
                  <c:v>129.05707046923595</c:v>
                </c:pt>
                <c:pt idx="45">
                  <c:v>130.65087227284658</c:v>
                </c:pt>
                <c:pt idx="46">
                  <c:v>132.56545092682563</c:v>
                </c:pt>
                <c:pt idx="47">
                  <c:v>134.78499970802022</c:v>
                </c:pt>
                <c:pt idx="48">
                  <c:v>137.29052189764087</c:v>
                </c:pt>
                <c:pt idx="49">
                  <c:v>140.05564708121079</c:v>
                </c:pt>
                <c:pt idx="50">
                  <c:v>143.05247249400958</c:v>
                </c:pt>
                <c:pt idx="51">
                  <c:v>146.25608702513424</c:v>
                </c:pt>
                <c:pt idx="52">
                  <c:v>149.64449687134746</c:v>
                </c:pt>
                <c:pt idx="53">
                  <c:v>153.19764611707566</c:v>
                </c:pt>
                <c:pt idx="54">
                  <c:v>156.8968299900032</c:v>
                </c:pt>
                <c:pt idx="55">
                  <c:v>160.72403224224985</c:v>
                </c:pt>
                <c:pt idx="56">
                  <c:v>164.66066893477924</c:v>
                </c:pt>
                <c:pt idx="57">
                  <c:v>168.68833864548938</c:v>
                </c:pt>
                <c:pt idx="58">
                  <c:v>172.78943059497811</c:v>
                </c:pt>
                <c:pt idx="59">
                  <c:v>176.9466330205066</c:v>
                </c:pt>
                <c:pt idx="60">
                  <c:v>181.14322072158799</c:v>
                </c:pt>
                <c:pt idx="61">
                  <c:v>185.36270536530901</c:v>
                </c:pt>
                <c:pt idx="62">
                  <c:v>189.58859933274508</c:v>
                </c:pt>
                <c:pt idx="63">
                  <c:v>193.80409656744592</c:v>
                </c:pt>
                <c:pt idx="64">
                  <c:v>197.99207572408238</c:v>
                </c:pt>
                <c:pt idx="65">
                  <c:v>202.13520680001795</c:v>
                </c:pt>
                <c:pt idx="66">
                  <c:v>206.21588790803295</c:v>
                </c:pt>
                <c:pt idx="67">
                  <c:v>210.21640091648416</c:v>
                </c:pt>
                <c:pt idx="68">
                  <c:v>214.11915805717661</c:v>
                </c:pt>
                <c:pt idx="69">
                  <c:v>217.90670773774937</c:v>
                </c:pt>
                <c:pt idx="70">
                  <c:v>221.56256525355482</c:v>
                </c:pt>
                <c:pt idx="71">
                  <c:v>225.07091487681603</c:v>
                </c:pt>
                <c:pt idx="72">
                  <c:v>228.41659315575401</c:v>
                </c:pt>
                <c:pt idx="73">
                  <c:v>231.58503781553361</c:v>
                </c:pt>
                <c:pt idx="74">
                  <c:v>234.56260784176655</c:v>
                </c:pt>
                <c:pt idx="75">
                  <c:v>237.33661352872187</c:v>
                </c:pt>
                <c:pt idx="76">
                  <c:v>239.89529746383408</c:v>
                </c:pt>
                <c:pt idx="77">
                  <c:v>242.22795331976263</c:v>
                </c:pt>
                <c:pt idx="78">
                  <c:v>244.32497867285647</c:v>
                </c:pt>
                <c:pt idx="79">
                  <c:v>246.1779261833349</c:v>
                </c:pt>
                <c:pt idx="80">
                  <c:v>247.77956422940602</c:v>
                </c:pt>
                <c:pt idx="81">
                  <c:v>249.12392170341502</c:v>
                </c:pt>
                <c:pt idx="82">
                  <c:v>250.20627609083616</c:v>
                </c:pt>
                <c:pt idx="83">
                  <c:v>251.02325161919103</c:v>
                </c:pt>
                <c:pt idx="84">
                  <c:v>251.57282567061131</c:v>
                </c:pt>
                <c:pt idx="85">
                  <c:v>251.85428866778801</c:v>
                </c:pt>
                <c:pt idx="86">
                  <c:v>251.86822355203304</c:v>
                </c:pt>
                <c:pt idx="87">
                  <c:v>251.61650246209021</c:v>
                </c:pt>
                <c:pt idx="88">
                  <c:v>251.10226970508305</c:v>
                </c:pt>
                <c:pt idx="89">
                  <c:v>250.32991137517422</c:v>
                </c:pt>
                <c:pt idx="90">
                  <c:v>249.30501074596503</c:v>
                </c:pt>
                <c:pt idx="91">
                  <c:v>248.03429071747988</c:v>
                </c:pt>
                <c:pt idx="92">
                  <c:v>246.52553685413361</c:v>
                </c:pt>
                <c:pt idx="93">
                  <c:v>244.787518268227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56.98863613166307</c:v>
                </c:pt>
                <c:pt idx="32">
                  <c:v>151.49565154393292</c:v>
                </c:pt>
                <c:pt idx="33">
                  <c:v>146.10448955252147</c:v>
                </c:pt>
                <c:pt idx="34">
                  <c:v>141.11497887977583</c:v>
                </c:pt>
                <c:pt idx="35">
                  <c:v>136.72958693505203</c:v>
                </c:pt>
                <c:pt idx="36">
                  <c:v>133.20216897479489</c:v>
                </c:pt>
                <c:pt idx="37">
                  <c:v>130.42484427705384</c:v>
                </c:pt>
                <c:pt idx="38">
                  <c:v>128.42000485079927</c:v>
                </c:pt>
                <c:pt idx="39">
                  <c:v>127.19527867334945</c:v>
                </c:pt>
                <c:pt idx="40">
                  <c:v>126.75001697903851</c:v>
                </c:pt>
                <c:pt idx="41">
                  <c:v>127.07527093543338</c:v>
                </c:pt>
                <c:pt idx="42">
                  <c:v>128.15485396730227</c:v>
                </c:pt>
                <c:pt idx="43">
                  <c:v>129.964951299408</c:v>
                </c:pt>
                <c:pt idx="44">
                  <c:v>132.47908876273192</c:v>
                </c:pt>
                <c:pt idx="45">
                  <c:v>135.66669236995321</c:v>
                </c:pt>
                <c:pt idx="46">
                  <c:v>139.49584967791131</c:v>
                </c:pt>
                <c:pt idx="47">
                  <c:v>143.93494724030052</c:v>
                </c:pt>
                <c:pt idx="48">
                  <c:v>148.94599161954179</c:v>
                </c:pt>
                <c:pt idx="49">
                  <c:v>154.47624198668163</c:v>
                </c:pt>
                <c:pt idx="50">
                  <c:v>160.46989281227923</c:v>
                </c:pt>
                <c:pt idx="51">
                  <c:v>166.87712187452857</c:v>
                </c:pt>
                <c:pt idx="52">
                  <c:v>173.6539415669549</c:v>
                </c:pt>
                <c:pt idx="53">
                  <c:v>180.76024005841134</c:v>
                </c:pt>
                <c:pt idx="54">
                  <c:v>188.1586078042665</c:v>
                </c:pt>
                <c:pt idx="55">
                  <c:v>195.81301230875977</c:v>
                </c:pt>
                <c:pt idx="56">
                  <c:v>203.68628569381849</c:v>
                </c:pt>
                <c:pt idx="57">
                  <c:v>211.7416251152388</c:v>
                </c:pt>
                <c:pt idx="58">
                  <c:v>219.94380901421619</c:v>
                </c:pt>
                <c:pt idx="59">
                  <c:v>228.25821386527329</c:v>
                </c:pt>
                <c:pt idx="60">
                  <c:v>236.65138926743603</c:v>
                </c:pt>
                <c:pt idx="61">
                  <c:v>245.09035855487798</c:v>
                </c:pt>
                <c:pt idx="62">
                  <c:v>253.54214648975017</c:v>
                </c:pt>
                <c:pt idx="63">
                  <c:v>261.97314095915192</c:v>
                </c:pt>
                <c:pt idx="64">
                  <c:v>270.34909927242478</c:v>
                </c:pt>
                <c:pt idx="65">
                  <c:v>278.63536142429581</c:v>
                </c:pt>
                <c:pt idx="66">
                  <c:v>286.79672364032592</c:v>
                </c:pt>
                <c:pt idx="67">
                  <c:v>294.79774965722828</c:v>
                </c:pt>
                <c:pt idx="68">
                  <c:v>302.60326393861328</c:v>
                </c:pt>
                <c:pt idx="69">
                  <c:v>310.1783632997587</c:v>
                </c:pt>
                <c:pt idx="70">
                  <c:v>317.4900783313696</c:v>
                </c:pt>
                <c:pt idx="71">
                  <c:v>324.50677757789214</c:v>
                </c:pt>
                <c:pt idx="72">
                  <c:v>331.19813413576804</c:v>
                </c:pt>
                <c:pt idx="73">
                  <c:v>337.53502345532718</c:v>
                </c:pt>
                <c:pt idx="74">
                  <c:v>343.49016350779311</c:v>
                </c:pt>
                <c:pt idx="75">
                  <c:v>349.03817488170387</c:v>
                </c:pt>
                <c:pt idx="76">
                  <c:v>354.15554275192818</c:v>
                </c:pt>
                <c:pt idx="77">
                  <c:v>358.82085446378511</c:v>
                </c:pt>
                <c:pt idx="78">
                  <c:v>363.01490516997302</c:v>
                </c:pt>
                <c:pt idx="79">
                  <c:v>366.72080019092971</c:v>
                </c:pt>
                <c:pt idx="80">
                  <c:v>369.92407628307205</c:v>
                </c:pt>
                <c:pt idx="81">
                  <c:v>372.61279123109</c:v>
                </c:pt>
                <c:pt idx="82">
                  <c:v>374.77750000593227</c:v>
                </c:pt>
                <c:pt idx="83">
                  <c:v>376.41145106264202</c:v>
                </c:pt>
                <c:pt idx="84">
                  <c:v>377.51059916548257</c:v>
                </c:pt>
                <c:pt idx="85">
                  <c:v>378.07352515983615</c:v>
                </c:pt>
                <c:pt idx="86">
                  <c:v>378.1013949283261</c:v>
                </c:pt>
                <c:pt idx="87">
                  <c:v>377.59795274844038</c:v>
                </c:pt>
                <c:pt idx="88">
                  <c:v>376.56948723442599</c:v>
                </c:pt>
                <c:pt idx="89">
                  <c:v>375.0247705746084</c:v>
                </c:pt>
                <c:pt idx="90">
                  <c:v>372.97496931619008</c:v>
                </c:pt>
                <c:pt idx="91">
                  <c:v>370.4335292592196</c:v>
                </c:pt>
                <c:pt idx="92">
                  <c:v>367.41602153252705</c:v>
                </c:pt>
                <c:pt idx="93">
                  <c:v>363.939984360715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298</c:v>
                </c:pt>
                <c:pt idx="1">
                  <c:v>298</c:v>
                </c:pt>
                <c:pt idx="2">
                  <c:v>298</c:v>
                </c:pt>
                <c:pt idx="3">
                  <c:v>265</c:v>
                </c:pt>
                <c:pt idx="4">
                  <c:v>282</c:v>
                </c:pt>
                <c:pt idx="5">
                  <c:v>299</c:v>
                </c:pt>
                <c:pt idx="6">
                  <c:v>300</c:v>
                </c:pt>
                <c:pt idx="7">
                  <c:v>278</c:v>
                </c:pt>
                <c:pt idx="8">
                  <c:v>283</c:v>
                </c:pt>
                <c:pt idx="9">
                  <c:v>276</c:v>
                </c:pt>
                <c:pt idx="10">
                  <c:v>251</c:v>
                </c:pt>
                <c:pt idx="11">
                  <c:v>258</c:v>
                </c:pt>
                <c:pt idx="12">
                  <c:v>279</c:v>
                </c:pt>
                <c:pt idx="13">
                  <c:v>262</c:v>
                </c:pt>
                <c:pt idx="14">
                  <c:v>258</c:v>
                </c:pt>
                <c:pt idx="15">
                  <c:v>247</c:v>
                </c:pt>
                <c:pt idx="16">
                  <c:v>241</c:v>
                </c:pt>
                <c:pt idx="17">
                  <c:v>219</c:v>
                </c:pt>
                <c:pt idx="18">
                  <c:v>230</c:v>
                </c:pt>
                <c:pt idx="19">
                  <c:v>248</c:v>
                </c:pt>
                <c:pt idx="20">
                  <c:v>238</c:v>
                </c:pt>
                <c:pt idx="21">
                  <c:v>224</c:v>
                </c:pt>
                <c:pt idx="22">
                  <c:v>203</c:v>
                </c:pt>
                <c:pt idx="23">
                  <c:v>165</c:v>
                </c:pt>
                <c:pt idx="24">
                  <c:v>153</c:v>
                </c:pt>
                <c:pt idx="25">
                  <c:v>165</c:v>
                </c:pt>
                <c:pt idx="26">
                  <c:v>171</c:v>
                </c:pt>
                <c:pt idx="27">
                  <c:v>166</c:v>
                </c:pt>
                <c:pt idx="28">
                  <c:v>147</c:v>
                </c:pt>
                <c:pt idx="29">
                  <c:v>146</c:v>
                </c:pt>
                <c:pt idx="30">
                  <c:v>137</c:v>
                </c:pt>
                <c:pt idx="31">
                  <c:v>127</c:v>
                </c:pt>
                <c:pt idx="32">
                  <c:v>135</c:v>
                </c:pt>
                <c:pt idx="33">
                  <c:v>147</c:v>
                </c:pt>
                <c:pt idx="34">
                  <c:v>148</c:v>
                </c:pt>
                <c:pt idx="35">
                  <c:v>145</c:v>
                </c:pt>
                <c:pt idx="36">
                  <c:v>137</c:v>
                </c:pt>
                <c:pt idx="37">
                  <c:v>142</c:v>
                </c:pt>
                <c:pt idx="38">
                  <c:v>137</c:v>
                </c:pt>
                <c:pt idx="39">
                  <c:v>142</c:v>
                </c:pt>
                <c:pt idx="40">
                  <c:v>146</c:v>
                </c:pt>
                <c:pt idx="41">
                  <c:v>136</c:v>
                </c:pt>
                <c:pt idx="42">
                  <c:v>121</c:v>
                </c:pt>
                <c:pt idx="43">
                  <c:v>117</c:v>
                </c:pt>
                <c:pt idx="44">
                  <c:v>108</c:v>
                </c:pt>
                <c:pt idx="45">
                  <c:v>99</c:v>
                </c:pt>
                <c:pt idx="46">
                  <c:v>101</c:v>
                </c:pt>
                <c:pt idx="47">
                  <c:v>105</c:v>
                </c:pt>
                <c:pt idx="48">
                  <c:v>93</c:v>
                </c:pt>
                <c:pt idx="49">
                  <c:v>91</c:v>
                </c:pt>
                <c:pt idx="50">
                  <c:v>91</c:v>
                </c:pt>
                <c:pt idx="51">
                  <c:v>89</c:v>
                </c:pt>
                <c:pt idx="52">
                  <c:v>78</c:v>
                </c:pt>
                <c:pt idx="53">
                  <c:v>80</c:v>
                </c:pt>
                <c:pt idx="54">
                  <c:v>90</c:v>
                </c:pt>
                <c:pt idx="55">
                  <c:v>95</c:v>
                </c:pt>
                <c:pt idx="56">
                  <c:v>107</c:v>
                </c:pt>
                <c:pt idx="57">
                  <c:v>116</c:v>
                </c:pt>
                <c:pt idx="58">
                  <c:v>137</c:v>
                </c:pt>
                <c:pt idx="59">
                  <c:v>138</c:v>
                </c:pt>
                <c:pt idx="60">
                  <c:v>151</c:v>
                </c:pt>
                <c:pt idx="61">
                  <c:v>176</c:v>
                </c:pt>
                <c:pt idx="62">
                  <c:v>177</c:v>
                </c:pt>
                <c:pt idx="63">
                  <c:v>197</c:v>
                </c:pt>
                <c:pt idx="64">
                  <c:v>191</c:v>
                </c:pt>
                <c:pt idx="65">
                  <c:v>195</c:v>
                </c:pt>
                <c:pt idx="66">
                  <c:v>158</c:v>
                </c:pt>
                <c:pt idx="67">
                  <c:v>164</c:v>
                </c:pt>
                <c:pt idx="68">
                  <c:v>198</c:v>
                </c:pt>
                <c:pt idx="69">
                  <c:v>199</c:v>
                </c:pt>
                <c:pt idx="70">
                  <c:v>230</c:v>
                </c:pt>
                <c:pt idx="71">
                  <c:v>246</c:v>
                </c:pt>
                <c:pt idx="72">
                  <c:v>259</c:v>
                </c:pt>
                <c:pt idx="73">
                  <c:v>229</c:v>
                </c:pt>
                <c:pt idx="74">
                  <c:v>239</c:v>
                </c:pt>
                <c:pt idx="75">
                  <c:v>251</c:v>
                </c:pt>
                <c:pt idx="76">
                  <c:v>239</c:v>
                </c:pt>
                <c:pt idx="77">
                  <c:v>237</c:v>
                </c:pt>
                <c:pt idx="78">
                  <c:v>223</c:v>
                </c:pt>
                <c:pt idx="79">
                  <c:v>236</c:v>
                </c:pt>
                <c:pt idx="80">
                  <c:v>210</c:v>
                </c:pt>
                <c:pt idx="81">
                  <c:v>220</c:v>
                </c:pt>
                <c:pt idx="82">
                  <c:v>234</c:v>
                </c:pt>
                <c:pt idx="83">
                  <c:v>206</c:v>
                </c:pt>
                <c:pt idx="84">
                  <c:v>191</c:v>
                </c:pt>
                <c:pt idx="85">
                  <c:v>192</c:v>
                </c:pt>
                <c:pt idx="86">
                  <c:v>187</c:v>
                </c:pt>
                <c:pt idx="87">
                  <c:v>170</c:v>
                </c:pt>
                <c:pt idx="88">
                  <c:v>177</c:v>
                </c:pt>
                <c:pt idx="89">
                  <c:v>196</c:v>
                </c:pt>
                <c:pt idx="90">
                  <c:v>175</c:v>
                </c:pt>
                <c:pt idx="91">
                  <c:v>158</c:v>
                </c:pt>
                <c:pt idx="92">
                  <c:v>158</c:v>
                </c:pt>
                <c:pt idx="93">
                  <c:v>1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63.50893092307402</c:v>
                </c:pt>
                <c:pt idx="32">
                  <c:v>157.787803205502</c:v>
                </c:pt>
                <c:pt idx="33">
                  <c:v>152.17272713776995</c:v>
                </c:pt>
                <c:pt idx="34">
                  <c:v>146.66844452538902</c:v>
                </c:pt>
                <c:pt idx="35">
                  <c:v>141.27899410728909</c:v>
                </c:pt>
                <c:pt idx="36">
                  <c:v>136.16114986139311</c:v>
                </c:pt>
                <c:pt idx="37">
                  <c:v>131.15319398193395</c:v>
                </c:pt>
                <c:pt idx="38">
                  <c:v>126.25790222524658</c:v>
                </c:pt>
                <c:pt idx="39">
                  <c:v>121.47757968514752</c:v>
                </c:pt>
                <c:pt idx="40">
                  <c:v>116.81422269128508</c:v>
                </c:pt>
                <c:pt idx="41">
                  <c:v>112.35953958399358</c:v>
                </c:pt>
                <c:pt idx="42">
                  <c:v>108.17558248433214</c:v>
                </c:pt>
                <c:pt idx="43">
                  <c:v>104.29172912259527</c:v>
                </c:pt>
                <c:pt idx="44">
                  <c:v>100.7174171713619</c:v>
                </c:pt>
                <c:pt idx="45">
                  <c:v>97.45104112464027</c:v>
                </c:pt>
                <c:pt idx="46">
                  <c:v>94.484949414416306</c:v>
                </c:pt>
                <c:pt idx="47">
                  <c:v>91.808074556844105</c:v>
                </c:pt>
                <c:pt idx="48">
                  <c:v>89.4064168433177</c:v>
                </c:pt>
                <c:pt idx="49">
                  <c:v>87.263679229834494</c:v>
                </c:pt>
                <c:pt idx="50">
                  <c:v>85.361366607558097</c:v>
                </c:pt>
                <c:pt idx="51">
                  <c:v>83.680532965937488</c:v>
                </c:pt>
                <c:pt idx="52">
                  <c:v>82.201554705829992</c:v>
                </c:pt>
                <c:pt idx="53">
                  <c:v>80.905112016154561</c:v>
                </c:pt>
                <c:pt idx="54">
                  <c:v>79.772806776546503</c:v>
                </c:pt>
                <c:pt idx="55">
                  <c:v>78.785213243570411</c:v>
                </c:pt>
                <c:pt idx="56">
                  <c:v>77.919419800681311</c:v>
                </c:pt>
                <c:pt idx="57">
                  <c:v>77.152666498637345</c:v>
                </c:pt>
                <c:pt idx="58">
                  <c:v>76.465251176986172</c:v>
                </c:pt>
                <c:pt idx="59">
                  <c:v>75.840596802700091</c:v>
                </c:pt>
                <c:pt idx="60">
                  <c:v>75.264658360209367</c:v>
                </c:pt>
                <c:pt idx="61">
                  <c:v>74.725509433959516</c:v>
                </c:pt>
                <c:pt idx="62">
                  <c:v>74.212868462009681</c:v>
                </c:pt>
                <c:pt idx="63">
                  <c:v>73.717263172032091</c:v>
                </c:pt>
                <c:pt idx="64">
                  <c:v>73.230431996666212</c:v>
                </c:pt>
                <c:pt idx="65">
                  <c:v>72.745647690526155</c:v>
                </c:pt>
                <c:pt idx="66">
                  <c:v>72.257377321606384</c:v>
                </c:pt>
                <c:pt idx="67">
                  <c:v>71.761384940363286</c:v>
                </c:pt>
                <c:pt idx="68">
                  <c:v>71.254445624491396</c:v>
                </c:pt>
                <c:pt idx="69">
                  <c:v>70.734122964419242</c:v>
                </c:pt>
                <c:pt idx="70">
                  <c:v>70.198753124835491</c:v>
                </c:pt>
                <c:pt idx="71">
                  <c:v>69.647290872099546</c:v>
                </c:pt>
                <c:pt idx="72">
                  <c:v>69.079193115985277</c:v>
                </c:pt>
                <c:pt idx="73">
                  <c:v>68.49425083909594</c:v>
                </c:pt>
                <c:pt idx="74">
                  <c:v>67.892569589927632</c:v>
                </c:pt>
                <c:pt idx="75">
                  <c:v>67.274610669811182</c:v>
                </c:pt>
                <c:pt idx="76">
                  <c:v>66.641088869807987</c:v>
                </c:pt>
                <c:pt idx="77">
                  <c:v>65.99285018694232</c:v>
                </c:pt>
                <c:pt idx="78">
                  <c:v>65.330721725837449</c:v>
                </c:pt>
                <c:pt idx="79">
                  <c:v>64.655543918505373</c:v>
                </c:pt>
                <c:pt idx="80">
                  <c:v>63.968129538073853</c:v>
                </c:pt>
                <c:pt idx="81">
                  <c:v>63.269407700531524</c:v>
                </c:pt>
                <c:pt idx="82">
                  <c:v>62.560381803889712</c:v>
                </c:pt>
                <c:pt idx="83">
                  <c:v>61.842049624838751</c:v>
                </c:pt>
                <c:pt idx="84">
                  <c:v>61.115412819305917</c:v>
                </c:pt>
                <c:pt idx="85">
                  <c:v>60.381445366562374</c:v>
                </c:pt>
                <c:pt idx="86">
                  <c:v>59.641079909829564</c:v>
                </c:pt>
                <c:pt idx="87">
                  <c:v>58.895206757724964</c:v>
                </c:pt>
                <c:pt idx="88">
                  <c:v>58.144673674690551</c:v>
                </c:pt>
                <c:pt idx="89">
                  <c:v>57.390251636992247</c:v>
                </c:pt>
                <c:pt idx="90">
                  <c:v>56.632676376693752</c:v>
                </c:pt>
                <c:pt idx="91">
                  <c:v>55.872651792023959</c:v>
                </c:pt>
                <c:pt idx="92">
                  <c:v>55.110844294506443</c:v>
                </c:pt>
                <c:pt idx="93">
                  <c:v>54.3478801456520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63.50893092307402</c:v>
                </c:pt>
                <c:pt idx="32">
                  <c:v>157.787803205502</c:v>
                </c:pt>
                <c:pt idx="33">
                  <c:v>152.17272713776995</c:v>
                </c:pt>
                <c:pt idx="34">
                  <c:v>146.97598439235438</c:v>
                </c:pt>
                <c:pt idx="35">
                  <c:v>142.40845156813725</c:v>
                </c:pt>
                <c:pt idx="36">
                  <c:v>138.73452743061705</c:v>
                </c:pt>
                <c:pt idx="37">
                  <c:v>135.84185058888036</c:v>
                </c:pt>
                <c:pt idx="38">
                  <c:v>133.75374307143952</c:v>
                </c:pt>
                <c:pt idx="39">
                  <c:v>131.66563555399864</c:v>
                </c:pt>
                <c:pt idx="40">
                  <c:v>131.43375805823928</c:v>
                </c:pt>
                <c:pt idx="41">
                  <c:v>131.60313951156951</c:v>
                </c:pt>
                <c:pt idx="42">
                  <c:v>132.16535048343735</c:v>
                </c:pt>
                <c:pt idx="43">
                  <c:v>133.10798903018886</c:v>
                </c:pt>
                <c:pt idx="44">
                  <c:v>134.41726828425215</c:v>
                </c:pt>
                <c:pt idx="45">
                  <c:v>136.07726632890731</c:v>
                </c:pt>
                <c:pt idx="46">
                  <c:v>138.07136422410593</c:v>
                </c:pt>
                <c:pt idx="47">
                  <c:v>140.38309873742682</c:v>
                </c:pt>
                <c:pt idx="48">
                  <c:v>142.99268414898057</c:v>
                </c:pt>
                <c:pt idx="49">
                  <c:v>145.87265478745917</c:v>
                </c:pt>
                <c:pt idx="50">
                  <c:v>148.993948987371</c:v>
                </c:pt>
                <c:pt idx="51">
                  <c:v>152.33062099103438</c:v>
                </c:pt>
                <c:pt idx="52">
                  <c:v>155.85976351456637</c:v>
                </c:pt>
                <c:pt idx="53">
                  <c:v>159.5604876490948</c:v>
                </c:pt>
                <c:pt idx="54">
                  <c:v>163.41331174677651</c:v>
                </c:pt>
                <c:pt idx="55">
                  <c:v>167.39947128106536</c:v>
                </c:pt>
                <c:pt idx="56">
                  <c:v>171.49961045603206</c:v>
                </c:pt>
                <c:pt idx="57">
                  <c:v>175.69456357325731</c:v>
                </c:pt>
                <c:pt idx="58">
                  <c:v>179.9659884152168</c:v>
                </c:pt>
                <c:pt idx="59">
                  <c:v>184.29585420027206</c:v>
                </c:pt>
                <c:pt idx="60">
                  <c:v>188.66674107104694</c:v>
                </c:pt>
                <c:pt idx="61">
                  <c:v>193.06147587568927</c:v>
                </c:pt>
                <c:pt idx="62">
                  <c:v>197.46288620599009</c:v>
                </c:pt>
                <c:pt idx="63">
                  <c:v>201.85346799037498</c:v>
                </c:pt>
                <c:pt idx="64">
                  <c:v>206.21538877332543</c:v>
                </c:pt>
                <c:pt idx="65">
                  <c:v>210.53059877573753</c:v>
                </c:pt>
                <c:pt idx="66">
                  <c:v>214.78076504159344</c:v>
                </c:pt>
                <c:pt idx="67">
                  <c:v>218.94743354240842</c:v>
                </c:pt>
                <c:pt idx="68">
                  <c:v>223.01228602760247</c:v>
                </c:pt>
                <c:pt idx="69">
                  <c:v>226.95714607829487</c:v>
                </c:pt>
                <c:pt idx="70">
                  <c:v>230.76484432159384</c:v>
                </c:pt>
                <c:pt idx="71">
                  <c:v>234.41890814646013</c:v>
                </c:pt>
                <c:pt idx="72">
                  <c:v>237.90354430918788</c:v>
                </c:pt>
                <c:pt idx="73">
                  <c:v>241.20358571202541</c:v>
                </c:pt>
                <c:pt idx="74">
                  <c:v>244.30482478088146</c:v>
                </c:pt>
                <c:pt idx="75">
                  <c:v>247.19404476154418</c:v>
                </c:pt>
                <c:pt idx="76">
                  <c:v>249.85899991440866</c:v>
                </c:pt>
                <c:pt idx="77">
                  <c:v>252.28853924039174</c:v>
                </c:pt>
                <c:pt idx="78">
                  <c:v>254.47266149313486</c:v>
                </c:pt>
                <c:pt idx="79">
                  <c:v>256.40256848487917</c:v>
                </c:pt>
                <c:pt idx="80">
                  <c:v>258.07072823893407</c:v>
                </c:pt>
                <c:pt idx="81">
                  <c:v>259.47092164636837</c:v>
                </c:pt>
                <c:pt idx="82">
                  <c:v>260.5982300498805</c:v>
                </c:pt>
                <c:pt idx="83">
                  <c:v>261.4491374691894</c:v>
                </c:pt>
                <c:pt idx="84">
                  <c:v>262.02153727993385</c:v>
                </c:pt>
                <c:pt idx="85">
                  <c:v>262.31469043354281</c:v>
                </c:pt>
                <c:pt idx="86">
                  <c:v>262.32920408294814</c:v>
                </c:pt>
                <c:pt idx="87">
                  <c:v>262.06702812345497</c:v>
                </c:pt>
                <c:pt idx="88">
                  <c:v>261.53143745641239</c:v>
                </c:pt>
                <c:pt idx="89">
                  <c:v>260.72700034602809</c:v>
                </c:pt>
                <c:pt idx="90">
                  <c:v>259.65953195905627</c:v>
                </c:pt>
                <c:pt idx="91">
                  <c:v>258.33603442140077</c:v>
                </c:pt>
                <c:pt idx="92">
                  <c:v>256.76461665957686</c:v>
                </c:pt>
                <c:pt idx="93">
                  <c:v>254.954411998218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63.50893092307402</c:v>
                </c:pt>
                <c:pt idx="32">
                  <c:v>157.787803205502</c:v>
                </c:pt>
                <c:pt idx="33">
                  <c:v>152.17272713776995</c:v>
                </c:pt>
                <c:pt idx="34">
                  <c:v>146.97598439235438</c:v>
                </c:pt>
                <c:pt idx="35">
                  <c:v>142.40845156813725</c:v>
                </c:pt>
                <c:pt idx="36">
                  <c:v>138.73452743061705</c:v>
                </c:pt>
                <c:pt idx="37">
                  <c:v>135.84185058888036</c:v>
                </c:pt>
                <c:pt idx="38">
                  <c:v>133.75374307143952</c:v>
                </c:pt>
                <c:pt idx="39">
                  <c:v>132.47814967256204</c:v>
                </c:pt>
                <c:pt idx="40">
                  <c:v>132.01439468104331</c:v>
                </c:pt>
                <c:pt idx="41">
                  <c:v>132.35315758770378</c:v>
                </c:pt>
                <c:pt idx="42">
                  <c:v>133.47757953143943</c:v>
                </c:pt>
                <c:pt idx="43">
                  <c:v>135.36285662494251</c:v>
                </c:pt>
                <c:pt idx="44">
                  <c:v>137.98141513306905</c:v>
                </c:pt>
                <c:pt idx="45">
                  <c:v>141.30141122237939</c:v>
                </c:pt>
                <c:pt idx="46">
                  <c:v>145.28960701277666</c:v>
                </c:pt>
                <c:pt idx="47">
                  <c:v>149.91307603941843</c:v>
                </c:pt>
                <c:pt idx="48">
                  <c:v>155.13224686252596</c:v>
                </c:pt>
                <c:pt idx="49">
                  <c:v>160.89218813948312</c:v>
                </c:pt>
                <c:pt idx="50">
                  <c:v>167.13477653930678</c:v>
                </c:pt>
                <c:pt idx="51">
                  <c:v>173.8081205466336</c:v>
                </c:pt>
                <c:pt idx="52">
                  <c:v>180.86640559369744</c:v>
                </c:pt>
                <c:pt idx="53">
                  <c:v>188.26785386275432</c:v>
                </c:pt>
                <c:pt idx="54">
                  <c:v>195.97350205811782</c:v>
                </c:pt>
                <c:pt idx="55">
                  <c:v>203.94582112669548</c:v>
                </c:pt>
                <c:pt idx="56">
                  <c:v>212.14609947662885</c:v>
                </c:pt>
                <c:pt idx="57">
                  <c:v>220.53600571107938</c:v>
                </c:pt>
                <c:pt idx="58">
                  <c:v>229.07885539499833</c:v>
                </c:pt>
                <c:pt idx="59">
                  <c:v>237.73858696510891</c:v>
                </c:pt>
                <c:pt idx="60">
                  <c:v>246.48036070665862</c:v>
                </c:pt>
                <c:pt idx="61">
                  <c:v>255.26983031594318</c:v>
                </c:pt>
                <c:pt idx="62">
                  <c:v>264.07265097654494</c:v>
                </c:pt>
                <c:pt idx="63">
                  <c:v>272.85381454531478</c:v>
                </c:pt>
                <c:pt idx="64">
                  <c:v>281.57765611121562</c:v>
                </c:pt>
                <c:pt idx="65">
                  <c:v>290.20807611603971</c:v>
                </c:pt>
                <c:pt idx="66">
                  <c:v>298.70840864775158</c:v>
                </c:pt>
                <c:pt idx="67">
                  <c:v>307.04174564938154</c:v>
                </c:pt>
                <c:pt idx="68">
                  <c:v>315.1714506197697</c:v>
                </c:pt>
                <c:pt idx="69">
                  <c:v>323.06117072115438</c:v>
                </c:pt>
                <c:pt idx="70">
                  <c:v>330.67656720775238</c:v>
                </c:pt>
                <c:pt idx="71">
                  <c:v>337.98469485748507</c:v>
                </c:pt>
                <c:pt idx="72">
                  <c:v>344.95396718294052</c:v>
                </c:pt>
                <c:pt idx="73">
                  <c:v>351.55404998861553</c:v>
                </c:pt>
                <c:pt idx="74">
                  <c:v>357.75652812632768</c:v>
                </c:pt>
                <c:pt idx="75">
                  <c:v>363.53496808765323</c:v>
                </c:pt>
                <c:pt idx="76">
                  <c:v>368.86487839338207</c:v>
                </c:pt>
                <c:pt idx="77">
                  <c:v>373.72395704534807</c:v>
                </c:pt>
                <c:pt idx="78">
                  <c:v>378.09220155083449</c:v>
                </c:pt>
                <c:pt idx="79">
                  <c:v>381.95201553432292</c:v>
                </c:pt>
                <c:pt idx="80">
                  <c:v>385.28833504243289</c:v>
                </c:pt>
                <c:pt idx="81">
                  <c:v>388.08872185730144</c:v>
                </c:pt>
                <c:pt idx="82">
                  <c:v>390.34333866432564</c:v>
                </c:pt>
                <c:pt idx="83">
                  <c:v>392.04515350294344</c:v>
                </c:pt>
                <c:pt idx="84">
                  <c:v>393.18995312443235</c:v>
                </c:pt>
                <c:pt idx="85">
                  <c:v>393.77625943165043</c:v>
                </c:pt>
                <c:pt idx="86">
                  <c:v>393.80528673046103</c:v>
                </c:pt>
                <c:pt idx="87">
                  <c:v>393.28093481147465</c:v>
                </c:pt>
                <c:pt idx="88">
                  <c:v>392.20975347738937</c:v>
                </c:pt>
                <c:pt idx="89">
                  <c:v>390.60087925662089</c:v>
                </c:pt>
                <c:pt idx="90">
                  <c:v>388.46594248267724</c:v>
                </c:pt>
                <c:pt idx="91">
                  <c:v>385.81894740736612</c:v>
                </c:pt>
                <c:pt idx="92">
                  <c:v>382.67611188371831</c:v>
                </c:pt>
                <c:pt idx="93">
                  <c:v>379.055702561001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3092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26122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19692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58702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69324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1358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0794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226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673024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1286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952050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10" Type="http://schemas.openxmlformats.org/officeDocument/2006/relationships/chart" Target="../charts/chart9.xml"/><Relationship Id="rId4" Type="http://schemas.openxmlformats.org/officeDocument/2006/relationships/tags" Target="../tags/tag71.xml"/><Relationship Id="rId9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10" Type="http://schemas.openxmlformats.org/officeDocument/2006/relationships/chart" Target="../charts/chart10.xml"/><Relationship Id="rId4" Type="http://schemas.openxmlformats.org/officeDocument/2006/relationships/tags" Target="../tags/tag79.xml"/><Relationship Id="rId9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10" Type="http://schemas.openxmlformats.org/officeDocument/2006/relationships/chart" Target="../charts/chart11.xml"/><Relationship Id="rId4" Type="http://schemas.openxmlformats.org/officeDocument/2006/relationships/tags" Target="../tags/tag87.xml"/><Relationship Id="rId9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10" Type="http://schemas.openxmlformats.org/officeDocument/2006/relationships/chart" Target="../charts/chart12.xml"/><Relationship Id="rId4" Type="http://schemas.openxmlformats.org/officeDocument/2006/relationships/tags" Target="../tags/tag95.xml"/><Relationship Id="rId9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10" Type="http://schemas.openxmlformats.org/officeDocument/2006/relationships/chart" Target="../charts/chart13.xml"/><Relationship Id="rId4" Type="http://schemas.openxmlformats.org/officeDocument/2006/relationships/tags" Target="../tags/tag103.xml"/><Relationship Id="rId9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5" Type="http://schemas.openxmlformats.org/officeDocument/2006/relationships/tags" Target="../tags/tag112.xml"/><Relationship Id="rId10" Type="http://schemas.openxmlformats.org/officeDocument/2006/relationships/chart" Target="../charts/chart14.xml"/><Relationship Id="rId4" Type="http://schemas.openxmlformats.org/officeDocument/2006/relationships/tags" Target="../tags/tag111.xml"/><Relationship Id="rId9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5" Type="http://schemas.openxmlformats.org/officeDocument/2006/relationships/tags" Target="../tags/tag120.xml"/><Relationship Id="rId10" Type="http://schemas.openxmlformats.org/officeDocument/2006/relationships/chart" Target="../charts/chart15.xml"/><Relationship Id="rId4" Type="http://schemas.openxmlformats.org/officeDocument/2006/relationships/tags" Target="../tags/tag119.xml"/><Relationship Id="rId9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10" Type="http://schemas.openxmlformats.org/officeDocument/2006/relationships/chart" Target="../charts/chart16.xml"/><Relationship Id="rId4" Type="http://schemas.openxmlformats.org/officeDocument/2006/relationships/tags" Target="../tags/tag127.xml"/><Relationship Id="rId9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tags" Target="../tags/tag137.xml"/><Relationship Id="rId5" Type="http://schemas.openxmlformats.org/officeDocument/2006/relationships/tags" Target="../tags/tag136.xml"/><Relationship Id="rId10" Type="http://schemas.openxmlformats.org/officeDocument/2006/relationships/chart" Target="../charts/chart17.xml"/><Relationship Id="rId4" Type="http://schemas.openxmlformats.org/officeDocument/2006/relationships/tags" Target="../tags/tag135.xml"/><Relationship Id="rId9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chart" Target="../charts/chart1.xml"/><Relationship Id="rId4" Type="http://schemas.openxmlformats.org/officeDocument/2006/relationships/tags" Target="../tags/tag7.xml"/><Relationship Id="rId9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10" Type="http://schemas.openxmlformats.org/officeDocument/2006/relationships/chart" Target="../charts/chart18.xml"/><Relationship Id="rId4" Type="http://schemas.openxmlformats.org/officeDocument/2006/relationships/tags" Target="../tags/tag143.xml"/><Relationship Id="rId9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5" Type="http://schemas.openxmlformats.org/officeDocument/2006/relationships/tags" Target="../tags/tag152.xml"/><Relationship Id="rId10" Type="http://schemas.openxmlformats.org/officeDocument/2006/relationships/chart" Target="../charts/chart19.xml"/><Relationship Id="rId4" Type="http://schemas.openxmlformats.org/officeDocument/2006/relationships/tags" Target="../tags/tag151.xml"/><Relationship Id="rId9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tags" Target="../tags/tag161.xml"/><Relationship Id="rId5" Type="http://schemas.openxmlformats.org/officeDocument/2006/relationships/tags" Target="../tags/tag160.xml"/><Relationship Id="rId10" Type="http://schemas.openxmlformats.org/officeDocument/2006/relationships/chart" Target="../charts/chart20.xml"/><Relationship Id="rId4" Type="http://schemas.openxmlformats.org/officeDocument/2006/relationships/tags" Target="../tags/tag159.xml"/><Relationship Id="rId9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5" Type="http://schemas.openxmlformats.org/officeDocument/2006/relationships/tags" Target="../tags/tag168.xml"/><Relationship Id="rId10" Type="http://schemas.openxmlformats.org/officeDocument/2006/relationships/chart" Target="../charts/chart21.xml"/><Relationship Id="rId4" Type="http://schemas.openxmlformats.org/officeDocument/2006/relationships/tags" Target="../tags/tag167.xml"/><Relationship Id="rId9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5" Type="http://schemas.openxmlformats.org/officeDocument/2006/relationships/tags" Target="../tags/tag176.xml"/><Relationship Id="rId10" Type="http://schemas.openxmlformats.org/officeDocument/2006/relationships/chart" Target="../charts/chart22.xml"/><Relationship Id="rId4" Type="http://schemas.openxmlformats.org/officeDocument/2006/relationships/tags" Target="../tags/tag175.xml"/><Relationship Id="rId9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87.xml"/><Relationship Id="rId3" Type="http://schemas.openxmlformats.org/officeDocument/2006/relationships/tags" Target="../tags/tag182.xml"/><Relationship Id="rId7" Type="http://schemas.openxmlformats.org/officeDocument/2006/relationships/tags" Target="../tags/tag186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tags" Target="../tags/tag185.xml"/><Relationship Id="rId5" Type="http://schemas.openxmlformats.org/officeDocument/2006/relationships/tags" Target="../tags/tag184.xml"/><Relationship Id="rId10" Type="http://schemas.openxmlformats.org/officeDocument/2006/relationships/chart" Target="../charts/chart23.xml"/><Relationship Id="rId4" Type="http://schemas.openxmlformats.org/officeDocument/2006/relationships/tags" Target="../tags/tag183.xml"/><Relationship Id="rId9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95.xml"/><Relationship Id="rId3" Type="http://schemas.openxmlformats.org/officeDocument/2006/relationships/tags" Target="../tags/tag190.xml"/><Relationship Id="rId7" Type="http://schemas.openxmlformats.org/officeDocument/2006/relationships/tags" Target="../tags/tag194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tags" Target="../tags/tag193.xml"/><Relationship Id="rId5" Type="http://schemas.openxmlformats.org/officeDocument/2006/relationships/tags" Target="../tags/tag192.xml"/><Relationship Id="rId10" Type="http://schemas.openxmlformats.org/officeDocument/2006/relationships/chart" Target="../charts/chart24.xml"/><Relationship Id="rId4" Type="http://schemas.openxmlformats.org/officeDocument/2006/relationships/tags" Target="../tags/tag191.xml"/><Relationship Id="rId9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03.xml"/><Relationship Id="rId3" Type="http://schemas.openxmlformats.org/officeDocument/2006/relationships/tags" Target="../tags/tag198.xml"/><Relationship Id="rId7" Type="http://schemas.openxmlformats.org/officeDocument/2006/relationships/tags" Target="../tags/tag202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tags" Target="../tags/tag201.xml"/><Relationship Id="rId5" Type="http://schemas.openxmlformats.org/officeDocument/2006/relationships/tags" Target="../tags/tag200.xml"/><Relationship Id="rId10" Type="http://schemas.openxmlformats.org/officeDocument/2006/relationships/chart" Target="../charts/chart25.xml"/><Relationship Id="rId4" Type="http://schemas.openxmlformats.org/officeDocument/2006/relationships/tags" Target="../tags/tag199.xml"/><Relationship Id="rId9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5" Type="http://schemas.openxmlformats.org/officeDocument/2006/relationships/tags" Target="../tags/tag208.xml"/><Relationship Id="rId10" Type="http://schemas.openxmlformats.org/officeDocument/2006/relationships/chart" Target="../charts/chart26.xml"/><Relationship Id="rId4" Type="http://schemas.openxmlformats.org/officeDocument/2006/relationships/tags" Target="../tags/tag207.xml"/><Relationship Id="rId9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tags" Target="../tags/tag217.xml"/><Relationship Id="rId5" Type="http://schemas.openxmlformats.org/officeDocument/2006/relationships/tags" Target="../tags/tag216.xml"/><Relationship Id="rId10" Type="http://schemas.openxmlformats.org/officeDocument/2006/relationships/chart" Target="../charts/chart27.xml"/><Relationship Id="rId4" Type="http://schemas.openxmlformats.org/officeDocument/2006/relationships/tags" Target="../tags/tag215.xml"/><Relationship Id="rId9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10" Type="http://schemas.openxmlformats.org/officeDocument/2006/relationships/chart" Target="../charts/chart2.xml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tags" Target="../tags/tag225.xml"/><Relationship Id="rId5" Type="http://schemas.openxmlformats.org/officeDocument/2006/relationships/tags" Target="../tags/tag224.xml"/><Relationship Id="rId10" Type="http://schemas.openxmlformats.org/officeDocument/2006/relationships/chart" Target="../charts/chart28.xml"/><Relationship Id="rId4" Type="http://schemas.openxmlformats.org/officeDocument/2006/relationships/tags" Target="../tags/tag223.xml"/><Relationship Id="rId9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35.xml"/><Relationship Id="rId3" Type="http://schemas.openxmlformats.org/officeDocument/2006/relationships/tags" Target="../tags/tag230.xml"/><Relationship Id="rId7" Type="http://schemas.openxmlformats.org/officeDocument/2006/relationships/tags" Target="../tags/tag234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tags" Target="../tags/tag233.xml"/><Relationship Id="rId5" Type="http://schemas.openxmlformats.org/officeDocument/2006/relationships/tags" Target="../tags/tag232.xml"/><Relationship Id="rId10" Type="http://schemas.openxmlformats.org/officeDocument/2006/relationships/chart" Target="../charts/chart29.xml"/><Relationship Id="rId4" Type="http://schemas.openxmlformats.org/officeDocument/2006/relationships/tags" Target="../tags/tag231.xml"/><Relationship Id="rId9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5" Type="http://schemas.openxmlformats.org/officeDocument/2006/relationships/tags" Target="../tags/tag240.xml"/><Relationship Id="rId10" Type="http://schemas.openxmlformats.org/officeDocument/2006/relationships/chart" Target="../charts/chart30.xml"/><Relationship Id="rId4" Type="http://schemas.openxmlformats.org/officeDocument/2006/relationships/tags" Target="../tags/tag239.xml"/><Relationship Id="rId9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chart" Target="../charts/chart3.xml"/><Relationship Id="rId4" Type="http://schemas.openxmlformats.org/officeDocument/2006/relationships/tags" Target="../tags/tag23.xml"/><Relationship Id="rId9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chart" Target="../charts/chart4.xml"/><Relationship Id="rId4" Type="http://schemas.openxmlformats.org/officeDocument/2006/relationships/tags" Target="../tags/tag31.xml"/><Relationship Id="rId9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10" Type="http://schemas.openxmlformats.org/officeDocument/2006/relationships/chart" Target="../charts/chart5.xml"/><Relationship Id="rId4" Type="http://schemas.openxmlformats.org/officeDocument/2006/relationships/tags" Target="../tags/tag39.xml"/><Relationship Id="rId9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chart" Target="../charts/chart6.xml"/><Relationship Id="rId4" Type="http://schemas.openxmlformats.org/officeDocument/2006/relationships/tags" Target="../tags/tag47.xml"/><Relationship Id="rId9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chart" Target="../charts/chart7.xml"/><Relationship Id="rId4" Type="http://schemas.openxmlformats.org/officeDocument/2006/relationships/tags" Target="../tags/tag55.xml"/><Relationship Id="rId9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10" Type="http://schemas.openxmlformats.org/officeDocument/2006/relationships/chart" Target="../charts/chart8.xml"/><Relationship Id="rId4" Type="http://schemas.openxmlformats.org/officeDocument/2006/relationships/tags" Target="../tags/tag63.xml"/><Relationship Id="rId9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všech hospitalizovaných pacientů s COVID-19</a:t>
            </a:r>
          </a:p>
        </p:txBody>
      </p:sp>
    </p:spTree>
    <p:extLst>
      <p:ext uri="{BB962C8B-B14F-4D97-AF65-F5344CB8AC3E}">
        <p14:creationId xmlns:p14="http://schemas.microsoft.com/office/powerpoint/2010/main" val="41809288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rálovéhrad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28539244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D524ECED-12A0-47F5-A8F9-BD09F3E92E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A3A72B5F-CB09-4846-8F9C-F679CE3E577E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CD686BDD-EC69-4547-9743-B8916ECDB696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DED44959-97D8-4746-8A5D-ED069AEDDCD3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EA390A14-1574-485A-B80F-259E0428FE57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2D4778B6-66E6-4C2D-A723-4E42B066BD28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5F1FF414-75B3-41AD-92D5-BA7C2BBD9BEB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F3DFC12B-6396-4A4B-AAF2-33B86E9E5C0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F1720B2A-86B8-494E-B5F3-A75A8E9CC76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264759" y="1422705"/>
            <a:ext cx="64771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3BC9DEBB-E3D2-4E80-87EB-1E8B9A21013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264760" y="1420042"/>
            <a:ext cx="2205681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C7E3B1A4-2543-443B-910F-AF4945B0BA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D0CAA31D-DA02-4343-8E4B-93E78150B3A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3255973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Pardubi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2876772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0A8D2B16-97FD-4425-B137-F0EAE026764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5C41A721-136C-440E-B30F-CA6DA2766C5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C77785AB-8357-4E65-A800-54050A1F383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4384610F-B0A3-4A77-BF39-E47308873D58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AF105956-1548-43EB-AD63-DD5575C7BB72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F2041EC8-910E-473C-B7EB-37053F646526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9EEC5388-5FC8-462A-AE8D-2E253D413D54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1EC7CCAB-6E1F-4228-86E1-D1D46C03609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35E50A75-55F8-42C4-863E-F20F7E64220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264759" y="1422705"/>
            <a:ext cx="64771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7E961DB4-A154-4B22-99C3-30B9D1B9BFA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264760" y="1420042"/>
            <a:ext cx="2205681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94D2E8F9-0D39-47CF-9D8E-F819C873C81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BD075060-CDEA-4FB8-8C2D-BB9E5192495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820211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raj Vysočin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1306404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8B216B05-5A46-4F4E-AAF3-62C788111DD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9956A7AD-20DA-4C42-88DD-D3837AF108D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EDFC83C0-19AE-47D9-A043-E4666FC642AC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7A395E99-24E2-49D2-BD8E-2707D97F79DB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7406CD51-D2B6-4F60-A30F-866B65B3B4BF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E1CBEFCB-069A-45E4-A5D2-93DC4054774D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F18728E2-0086-45AB-9082-D6C5BDFB49B3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95508504-C300-4D76-8BB8-5606528CE2D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9E03AD3B-15B6-4F70-8017-8B6BA313A43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264759" y="1422705"/>
            <a:ext cx="64771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E975FC1B-61B8-4679-AEC4-987E8FBB7A9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264760" y="1420042"/>
            <a:ext cx="2205681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E2B86BE4-9C18-4037-BC51-C3A10A53C71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993D61D8-7E84-431D-A88B-6F491698A64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8930917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Jihomorav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41511348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87239927-3A94-4A92-97F6-AC12B77E174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D1A49518-E09E-46FB-8346-B0AB25168B1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6C2A1B3A-9F71-44F6-87A7-68599EC3F81F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50EA9B85-E1E9-4BD9-A66D-22FD8819018D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11C8DD8F-0521-4E99-88F8-D6FEAAD1DEB8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2352CF5B-3C01-496B-B2F7-3777C2FD579F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B06B4EDA-2DE5-43AE-974A-7E679DE115D5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F1D5DD6E-D019-466F-98E7-4A121E746A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0D3016C5-70E9-4537-909F-079D16A14AD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264759" y="1422705"/>
            <a:ext cx="64771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C01D9562-766D-493A-8D18-9F956EB46DF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264760" y="1420042"/>
            <a:ext cx="2205681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0C4D1DB9-622D-4ED1-A102-E4B01F3842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8CC57C3F-15B7-4189-A569-59E28E029F8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2573532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Olomou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19713719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9" name="TextBox 9">
            <a:extLst>
              <a:ext uri="{FF2B5EF4-FFF2-40B4-BE49-F238E27FC236}">
                <a16:creationId xmlns:a16="http://schemas.microsoft.com/office/drawing/2014/main" id="{49277D19-071B-4B84-98D1-D99A9AE65CA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4EB764D5-C752-4BC0-AA89-358710A3BEA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30E4F1F9-16C3-47B9-9F77-A3C3B3906758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3" name="Obdélník 32">
              <a:extLst>
                <a:ext uri="{FF2B5EF4-FFF2-40B4-BE49-F238E27FC236}">
                  <a16:creationId xmlns:a16="http://schemas.microsoft.com/office/drawing/2014/main" id="{D89F3770-CB7C-49DF-AF22-5B6912E56EC6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TextovéPole 33">
              <a:extLst>
                <a:ext uri="{FF2B5EF4-FFF2-40B4-BE49-F238E27FC236}">
                  <a16:creationId xmlns:a16="http://schemas.microsoft.com/office/drawing/2014/main" id="{24235806-67A9-4C01-ABD3-316172A3B430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BB3543AA-7E0C-4B1A-B394-5166D4EA8A27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6" name="Přímá spojnice 35">
              <a:extLst>
                <a:ext uri="{FF2B5EF4-FFF2-40B4-BE49-F238E27FC236}">
                  <a16:creationId xmlns:a16="http://schemas.microsoft.com/office/drawing/2014/main" id="{896ADA11-8F7B-495F-9531-DCD0F894EFCD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7" name="TextBox 14">
            <a:extLst>
              <a:ext uri="{FF2B5EF4-FFF2-40B4-BE49-F238E27FC236}">
                <a16:creationId xmlns:a16="http://schemas.microsoft.com/office/drawing/2014/main" id="{7DE06A38-7EC1-48A5-8EBD-DC040BF5049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1D611BE5-EBFC-404A-B2AD-0257F5E2B0D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264759" y="1422705"/>
            <a:ext cx="64771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AF352AA2-D312-4509-B0FE-440946A58B8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264760" y="1420042"/>
            <a:ext cx="2205681" cy="956770"/>
            <a:chOff x="6462419" y="1469144"/>
            <a:chExt cx="3502394" cy="342705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C52FC922-7BE1-418F-8129-CE246EC132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E37CFF3E-AA0D-4F8F-BEB3-538DB10F79B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9273374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Zlín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06348172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8ED17DA6-165E-40E2-8E5B-4E40EECBE0B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527C20DA-8198-4A31-9D48-DFEAF178790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D03B637C-F3FB-4AC0-9FF9-84145DF111B3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558590A9-3B46-43CB-B1C3-034E0698D9F8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451C3888-8E4B-4271-ADA6-6C59168A2308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7D2003D4-D546-4B1D-AC28-BB7217F8BE73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E3CF3DD6-0CBF-4383-9E41-275F971A352A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9E264792-20E3-4331-8514-BCC8E6E73E0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60DD107-04C4-4172-B8EA-B22A538E372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264759" y="1422705"/>
            <a:ext cx="64771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3CD1C9A2-8C17-435C-BE5C-1D89B010096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264760" y="1420042"/>
            <a:ext cx="2205681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666C8BA7-2DBF-4943-84E4-750923346D1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51BB01A7-4755-4619-A110-E94A0E65301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493983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Moravskoslez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5197826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18534999-F6AF-47BA-87CA-5A92349F4F5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1E9EBBD1-441E-4CDC-8D24-14DD61BEAA6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595CA2E9-F1C1-4D50-8605-C85028C14C3B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AD663A7A-F594-4506-A358-20ED76D9D4E7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2FCEDCD4-0114-42EA-9511-1D95EF5BB9CE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955DF1F7-AD2B-4D98-A063-DADB25478FB9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13D1227E-A435-4089-85F8-9E9919690A31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055673D2-CBB0-4254-9DD0-6CC9F88C7AB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46BDFC3A-0C24-4DDE-92E7-A355C3CA229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264759" y="1422705"/>
            <a:ext cx="64771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0A8BEE47-44CD-4669-B85F-2DB472C1CE5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264760" y="1420042"/>
            <a:ext cx="2205681" cy="956770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EAF5BF13-DFB4-4570-8475-820FD91072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92B2F28C-3F8E-4EAC-A8D3-2A77191D220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5161407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ě hospitalizovaných pacientů s COVID19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92961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2357168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C03FAA43-CF6C-4026-B463-1F5F639FBAC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2B871ABE-3BDC-4ED4-A454-71CAB6AB204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C61AD147-F2E1-4502-95AB-79F625FB59D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0EF1EEDD-B56F-42B1-AF6F-C2768A82978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5" name="TextBox 9">
            <a:extLst>
              <a:ext uri="{FF2B5EF4-FFF2-40B4-BE49-F238E27FC236}">
                <a16:creationId xmlns:a16="http://schemas.microsoft.com/office/drawing/2014/main" id="{04641573-3784-4A6A-8A7B-ACC7F4E1241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a rozsah pravděpodobnostních predikcí 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9E4DBE3-2B3F-4E92-A75C-FA2D64840AB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193736"/>
            <a:ext cx="2304789" cy="2862322"/>
            <a:chOff x="9881260" y="3327524"/>
            <a:chExt cx="2304789" cy="2862322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46800364-06B0-4414-9252-B128B5E6DD03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339B6E56-80E1-4C8A-86E4-5B4C8CA3F880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" name="TextovéPole 28">
              <a:extLst>
                <a:ext uri="{FF2B5EF4-FFF2-40B4-BE49-F238E27FC236}">
                  <a16:creationId xmlns:a16="http://schemas.microsoft.com/office/drawing/2014/main" id="{F5C15141-847A-47A8-87E2-B02274F4C788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9E55F55F-438E-4288-BEF2-83F2E8F5AF29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52F9D211-A372-456E-9155-A69CA352D555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7886209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485717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A552EEB8-05E2-4D80-835E-2781ECD2532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51AA816E-6590-4F9C-8362-5544AC73447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4720ACCE-2A5C-49E1-80FF-55C3318033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0BF4D08A-981C-4DB4-BB16-1D178557E45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EEA74E49-A389-411A-ADD8-95DF52626D1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5" name="Skupina 34">
            <a:extLst>
              <a:ext uri="{FF2B5EF4-FFF2-40B4-BE49-F238E27FC236}">
                <a16:creationId xmlns:a16="http://schemas.microsoft.com/office/drawing/2014/main" id="{426C577E-68A1-442D-8451-330136D09D7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6" name="Přímá spojnice 35">
              <a:extLst>
                <a:ext uri="{FF2B5EF4-FFF2-40B4-BE49-F238E27FC236}">
                  <a16:creationId xmlns:a16="http://schemas.microsoft.com/office/drawing/2014/main" id="{B805474A-C8A8-4052-B27E-311AA1DA625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74B0112B-FC51-4AC2-A478-2E3BC6F7CF39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TextovéPole 39">
              <a:extLst>
                <a:ext uri="{FF2B5EF4-FFF2-40B4-BE49-F238E27FC236}">
                  <a16:creationId xmlns:a16="http://schemas.microsoft.com/office/drawing/2014/main" id="{799094AF-C344-40D6-855C-235EDD818D82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278DAC1C-2F2D-413D-8B21-FE925151FCC0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5C4DC18F-803A-4EE8-9C5B-EDA8E5B007BC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2435678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9807841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6" name="TextBox 9">
            <a:extLst>
              <a:ext uri="{FF2B5EF4-FFF2-40B4-BE49-F238E27FC236}">
                <a16:creationId xmlns:a16="http://schemas.microsoft.com/office/drawing/2014/main" id="{63F2B846-BCB8-4221-A35E-7F353D1D68B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49" name="Skupina 48">
            <a:extLst>
              <a:ext uri="{FF2B5EF4-FFF2-40B4-BE49-F238E27FC236}">
                <a16:creationId xmlns:a16="http://schemas.microsoft.com/office/drawing/2014/main" id="{A67FB738-66EA-43E9-AB09-3991B8673AB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887211" y="3193736"/>
            <a:ext cx="2304789" cy="2862322"/>
            <a:chOff x="9881260" y="3327524"/>
            <a:chExt cx="2304789" cy="2862322"/>
          </a:xfrm>
        </p:grpSpPr>
        <p:cxnSp>
          <p:nvCxnSpPr>
            <p:cNvPr id="50" name="Přímá spojnice 49">
              <a:extLst>
                <a:ext uri="{FF2B5EF4-FFF2-40B4-BE49-F238E27FC236}">
                  <a16:creationId xmlns:a16="http://schemas.microsoft.com/office/drawing/2014/main" id="{FBD2CE65-AEB2-4608-BF1B-C94050BD889E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51" name="Obdélník 50">
              <a:extLst>
                <a:ext uri="{FF2B5EF4-FFF2-40B4-BE49-F238E27FC236}">
                  <a16:creationId xmlns:a16="http://schemas.microsoft.com/office/drawing/2014/main" id="{B3CFA727-8A4F-4487-901C-A96C0FA6BC77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2" name="TextovéPole 28">
              <a:extLst>
                <a:ext uri="{FF2B5EF4-FFF2-40B4-BE49-F238E27FC236}">
                  <a16:creationId xmlns:a16="http://schemas.microsoft.com/office/drawing/2014/main" id="{61134B4E-219C-4753-843F-95D73DCB1FCA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53" name="Přímá spojnice 52">
              <a:extLst>
                <a:ext uri="{FF2B5EF4-FFF2-40B4-BE49-F238E27FC236}">
                  <a16:creationId xmlns:a16="http://schemas.microsoft.com/office/drawing/2014/main" id="{160A4984-B58F-4E88-864B-8178FA6AD1B7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54" name="Přímá spojnice 53">
              <a:extLst>
                <a:ext uri="{FF2B5EF4-FFF2-40B4-BE49-F238E27FC236}">
                  <a16:creationId xmlns:a16="http://schemas.microsoft.com/office/drawing/2014/main" id="{9DD8E72A-FD7E-4765-8CE7-8B29D712D5CB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20" name="Obdélník 19">
            <a:extLst>
              <a:ext uri="{FF2B5EF4-FFF2-40B4-BE49-F238E27FC236}">
                <a16:creationId xmlns:a16="http://schemas.microsoft.com/office/drawing/2014/main" id="{64F9C432-F031-4AF2-8F86-32138909768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264759" y="1422705"/>
            <a:ext cx="64771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01B3DE43-ABCB-49F8-8A3C-34F8DD7DD13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264760" y="1420042"/>
            <a:ext cx="2205681" cy="956770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D60A57ED-3895-49C9-805C-C766E4C111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0E5D99F1-8F4F-45AA-9B66-AC9EE062404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138890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8929870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8DDAFC89-C4D9-48DA-8E55-00085D07A89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246002CD-950B-4952-80B6-E9884D057428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FABA2A54-5E38-426E-983B-B05B1A2B68E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00451536-3BFC-470D-B550-EBA0E0AACB7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3D9650FE-7C50-493F-9B2D-2801B81407C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0D0F2CDF-EA16-4B14-ACB5-07256609CDD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52D805F5-1517-490E-8557-15BB11569D55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9" name="Obdélník 48">
              <a:extLst>
                <a:ext uri="{FF2B5EF4-FFF2-40B4-BE49-F238E27FC236}">
                  <a16:creationId xmlns:a16="http://schemas.microsoft.com/office/drawing/2014/main" id="{E02D3404-BC22-4F2B-A29E-75C4BAAE3BA3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TextovéPole 49">
              <a:extLst>
                <a:ext uri="{FF2B5EF4-FFF2-40B4-BE49-F238E27FC236}">
                  <a16:creationId xmlns:a16="http://schemas.microsoft.com/office/drawing/2014/main" id="{D5D92B3D-A9A3-4834-BBEA-A71EB9222953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51" name="Přímá spojnice 50">
              <a:extLst>
                <a:ext uri="{FF2B5EF4-FFF2-40B4-BE49-F238E27FC236}">
                  <a16:creationId xmlns:a16="http://schemas.microsoft.com/office/drawing/2014/main" id="{1E6D85B8-E661-467C-AE96-7F595A221757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52" name="Přímá spojnice 51">
              <a:extLst>
                <a:ext uri="{FF2B5EF4-FFF2-40B4-BE49-F238E27FC236}">
                  <a16:creationId xmlns:a16="http://schemas.microsoft.com/office/drawing/2014/main" id="{0FD9B7AA-1DD7-4524-9AF0-1B92CFD4738A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0090412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482600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8027FCB2-DA2A-414D-80F2-EACD254014D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E78C4B1A-B981-49A8-85E9-B62A18D27C7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5E705339-E8F2-4043-8380-FF93F38302B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D8885B23-BEFE-4D95-A4A8-B0F98F0A121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CEDFA9D6-4A15-4F4D-92F0-73821EE07DC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E964F513-5699-4DBD-9473-328625B623D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3C7C3E2F-21AC-4987-AF6D-B3BDE11CDB4C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9" name="Obdélník 48">
              <a:extLst>
                <a:ext uri="{FF2B5EF4-FFF2-40B4-BE49-F238E27FC236}">
                  <a16:creationId xmlns:a16="http://schemas.microsoft.com/office/drawing/2014/main" id="{CBCC0A98-F0C1-4F89-9609-BD2EFBAA3F6B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TextovéPole 49">
              <a:extLst>
                <a:ext uri="{FF2B5EF4-FFF2-40B4-BE49-F238E27FC236}">
                  <a16:creationId xmlns:a16="http://schemas.microsoft.com/office/drawing/2014/main" id="{F766514C-A554-4819-BD4E-ADF70488D5FF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51" name="Přímá spojnice 50">
              <a:extLst>
                <a:ext uri="{FF2B5EF4-FFF2-40B4-BE49-F238E27FC236}">
                  <a16:creationId xmlns:a16="http://schemas.microsoft.com/office/drawing/2014/main" id="{1E9FE3DB-86AA-43A9-B8D9-BF4130E803B7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52" name="Přímá spojnice 51">
              <a:extLst>
                <a:ext uri="{FF2B5EF4-FFF2-40B4-BE49-F238E27FC236}">
                  <a16:creationId xmlns:a16="http://schemas.microsoft.com/office/drawing/2014/main" id="{1D9D8D0F-6AFC-44F3-9E3D-129F061C409D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7581922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ň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404833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8C640D7C-4D16-4F85-8B81-3929B2565AC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921C7F9D-AD20-40A4-817F-77AB3E4AA70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5A577622-A7BF-44D2-8A9F-952BB0EFD3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98D15827-6464-4375-B5D4-C9B89B0E598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1F428807-A45B-4474-9315-C19E5F5CA7E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0BC55B9E-8BD4-4075-A5A5-DF203FB0DC6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AF653137-62B1-4011-BC43-9213C6A6B46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9" name="Obdélník 48">
              <a:extLst>
                <a:ext uri="{FF2B5EF4-FFF2-40B4-BE49-F238E27FC236}">
                  <a16:creationId xmlns:a16="http://schemas.microsoft.com/office/drawing/2014/main" id="{0FA598FA-E415-4123-8049-B1490627CAF5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TextovéPole 49">
              <a:extLst>
                <a:ext uri="{FF2B5EF4-FFF2-40B4-BE49-F238E27FC236}">
                  <a16:creationId xmlns:a16="http://schemas.microsoft.com/office/drawing/2014/main" id="{225ADD4C-6C95-4590-A3B2-6B22BFE7362B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51" name="Přímá spojnice 50">
              <a:extLst>
                <a:ext uri="{FF2B5EF4-FFF2-40B4-BE49-F238E27FC236}">
                  <a16:creationId xmlns:a16="http://schemas.microsoft.com/office/drawing/2014/main" id="{2F71D6D3-E528-4D01-9EEA-B103A5A43838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52" name="Přímá spojnice 51">
              <a:extLst>
                <a:ext uri="{FF2B5EF4-FFF2-40B4-BE49-F238E27FC236}">
                  <a16:creationId xmlns:a16="http://schemas.microsoft.com/office/drawing/2014/main" id="{BE712D5C-D560-4131-9A6E-38B5206C4744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8974143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1156830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C60E38C7-BDEC-4B59-BA05-0D2DDCEC867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CD80C90E-59A4-4B59-A986-904118405E7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F16726EB-FF07-4098-8A77-A11EC2F6D9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B245851C-B9B0-4DBF-AA94-67C2008A9B7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B449EE39-9CDF-45AF-AB8A-5D8CF443E02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66226502-4824-44D8-8E7B-5EFA7B9337F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95B2EFE4-AAA8-43B1-90C9-135A6B588E1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9" name="Obdélník 48">
              <a:extLst>
                <a:ext uri="{FF2B5EF4-FFF2-40B4-BE49-F238E27FC236}">
                  <a16:creationId xmlns:a16="http://schemas.microsoft.com/office/drawing/2014/main" id="{E041D78A-5E2A-492C-B7AC-B3E2FA973F78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TextovéPole 49">
              <a:extLst>
                <a:ext uri="{FF2B5EF4-FFF2-40B4-BE49-F238E27FC236}">
                  <a16:creationId xmlns:a16="http://schemas.microsoft.com/office/drawing/2014/main" id="{793EC3DE-C070-4A52-809E-DD5CB8360F50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51" name="Přímá spojnice 50">
              <a:extLst>
                <a:ext uri="{FF2B5EF4-FFF2-40B4-BE49-F238E27FC236}">
                  <a16:creationId xmlns:a16="http://schemas.microsoft.com/office/drawing/2014/main" id="{EA08E93F-6578-4C66-814C-0C52AB74CEC6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52" name="Přímá spojnice 51">
              <a:extLst>
                <a:ext uri="{FF2B5EF4-FFF2-40B4-BE49-F238E27FC236}">
                  <a16:creationId xmlns:a16="http://schemas.microsoft.com/office/drawing/2014/main" id="{5C545C66-5AE5-4A71-8492-27F9AC9BD5E9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4275256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455990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E7E1FAB6-B3C1-41C6-BA76-578068371E3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8A492364-BABD-434E-BE21-9C2BE4C7D06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975906E2-5A39-48BE-9D20-7FC029E2DB5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B145C51E-0FD4-4A84-A0BC-F473559C5E6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D7C65EBB-3F5D-4883-9C3C-F62FACBD2A3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5" name="Skupina 34">
            <a:extLst>
              <a:ext uri="{FF2B5EF4-FFF2-40B4-BE49-F238E27FC236}">
                <a16:creationId xmlns:a16="http://schemas.microsoft.com/office/drawing/2014/main" id="{88BF369B-7BD5-4247-802E-33C3EA209A1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6" name="Přímá spojnice 35">
              <a:extLst>
                <a:ext uri="{FF2B5EF4-FFF2-40B4-BE49-F238E27FC236}">
                  <a16:creationId xmlns:a16="http://schemas.microsoft.com/office/drawing/2014/main" id="{E719D2A9-4909-436E-B2AF-01ED256E5882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0FE84E5-05DC-46B9-8264-481B4E6BBE47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TextovéPole 39">
              <a:extLst>
                <a:ext uri="{FF2B5EF4-FFF2-40B4-BE49-F238E27FC236}">
                  <a16:creationId xmlns:a16="http://schemas.microsoft.com/office/drawing/2014/main" id="{E50C04C9-6106-4155-B791-6D643E8643CF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0B9273DB-B22D-480E-9781-7712BFD42EDF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E31BDEDE-82B3-4F57-848C-3000987996B2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689192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818047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1" name="Obdélník 20">
            <a:extLst>
              <a:ext uri="{FF2B5EF4-FFF2-40B4-BE49-F238E27FC236}">
                <a16:creationId xmlns:a16="http://schemas.microsoft.com/office/drawing/2014/main" id="{737887CF-A12C-4A23-B9CF-D923D9B6A63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A468E4DF-D56A-4F9B-915D-060F1608A55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E6E687DF-885F-4B16-8E3B-A472D48865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2BC1E4FA-9012-4337-86DC-45D200439A7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0DC1A66D-9C2C-4521-80C2-6ABA675D91F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EF5A21C-154E-482F-A301-23D6EC56712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D512143-3682-48A8-ABAF-6DBD25CB72FF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321CE47D-8FA7-4758-A83D-BDC1F00D3A67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TextovéPole 37">
              <a:extLst>
                <a:ext uri="{FF2B5EF4-FFF2-40B4-BE49-F238E27FC236}">
                  <a16:creationId xmlns:a16="http://schemas.microsoft.com/office/drawing/2014/main" id="{013CCD88-400C-4DEA-9DA0-16BA528ADA6F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158E8BED-6CFA-42DC-B436-B3684B32C20F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8042C7B7-03E4-47CD-9E72-535053FEC48C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371161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844221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1" name="Obdélník 20">
            <a:extLst>
              <a:ext uri="{FF2B5EF4-FFF2-40B4-BE49-F238E27FC236}">
                <a16:creationId xmlns:a16="http://schemas.microsoft.com/office/drawing/2014/main" id="{C354CCBB-1148-4F1A-A08A-2118381F7AC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00E253FF-E584-4C6E-B565-7C34E8B0E32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9F0769DC-83C7-4D38-B0BF-4D1769A0E3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6E9C26BE-8D4A-4385-A406-1B7311CDB99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4981EE2F-11AD-4982-B785-43C1001C07B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0C78E787-A4E1-4B9E-84C1-7E3D02A8915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62D84418-2BEA-4E96-9029-BFCD7C963C53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C300B367-D2ED-4A96-84BD-A93EC64EBCDE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TextovéPole 37">
              <a:extLst>
                <a:ext uri="{FF2B5EF4-FFF2-40B4-BE49-F238E27FC236}">
                  <a16:creationId xmlns:a16="http://schemas.microsoft.com/office/drawing/2014/main" id="{447170AA-2592-4FF0-9B23-D9BEAA99E96C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F9D06331-E35E-4356-A8F0-F1E9ABBAE5D6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86B7BDB0-D55C-4C59-AF82-3B0931246999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9514930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Pardubický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139775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1" name="Obdélník 20">
            <a:extLst>
              <a:ext uri="{FF2B5EF4-FFF2-40B4-BE49-F238E27FC236}">
                <a16:creationId xmlns:a16="http://schemas.microsoft.com/office/drawing/2014/main" id="{0DB4B85A-09B9-4F0D-A0E1-E5ABC9540D5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CC52B2C7-54B0-4C7B-94D9-C0AD1841E492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79349277-0FB4-4015-9F6F-6F20C9FA7A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EB1FEDC4-8D82-4EF5-A0C7-74A9CAD836F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119AD2D1-A103-47F7-8422-7CF51455A15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F37C9C60-9732-4F0E-BE63-79207AF6F85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7CB8BB16-7A71-454D-88A3-7AE9830EAD7E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AA7F668C-6399-48F7-8033-3D76B7F14AEB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TextovéPole 37">
              <a:extLst>
                <a:ext uri="{FF2B5EF4-FFF2-40B4-BE49-F238E27FC236}">
                  <a16:creationId xmlns:a16="http://schemas.microsoft.com/office/drawing/2014/main" id="{3C89D986-20DC-414A-88E1-25440469BB4B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8F427C53-07E3-41C3-9C97-6B863F0F1762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4E80F62D-D9F1-408A-BE8F-684ECDF2F428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808287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Kraj Vysočina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2370865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1" name="Obdélník 20">
            <a:extLst>
              <a:ext uri="{FF2B5EF4-FFF2-40B4-BE49-F238E27FC236}">
                <a16:creationId xmlns:a16="http://schemas.microsoft.com/office/drawing/2014/main" id="{833EE461-1AD7-42C0-98A6-31B09CAA3EA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9F896DF-0D49-4AE4-BA94-BAC388EB6DC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8824BF09-BE74-4442-A6C6-84CAE7216F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22780174-B777-418E-BB45-967BD123BA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9B8A4BC5-9D02-41C3-A1BD-19791462774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B2ABAE34-2BC0-4F33-994A-5A59834730E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8EE5F822-FB33-464E-904A-D7461C7EC66D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B6698308-AA86-40ED-9AF8-2AEED574D12C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TextovéPole 37">
              <a:extLst>
                <a:ext uri="{FF2B5EF4-FFF2-40B4-BE49-F238E27FC236}">
                  <a16:creationId xmlns:a16="http://schemas.microsoft.com/office/drawing/2014/main" id="{B6FBF529-5370-4BCB-AC55-7B1CCC80C452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E7EED85A-E2A6-4210-8ED0-1DCB8629088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A75000FB-FC11-4E99-8488-151F326E3BBA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4218712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862828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1" name="Obdélník 20">
            <a:extLst>
              <a:ext uri="{FF2B5EF4-FFF2-40B4-BE49-F238E27FC236}">
                <a16:creationId xmlns:a16="http://schemas.microsoft.com/office/drawing/2014/main" id="{E70E1F22-1EDC-4319-A2EA-53CFF86AF08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006F0D8-A6A7-4A60-8463-FE64BE57AE1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DA92EC38-6DEB-44CD-A664-D8747AA594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52DE0427-89EC-4A4C-B052-FD3DB499703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F0519250-F337-4FFC-A58D-9D0EDCD9855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9A150707-334E-45F4-9A5D-1BE80470FFA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DAF9D9F9-B488-415D-B07E-443FFFB203B9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23FE1AAE-7404-43CC-9F33-84861420B759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TextovéPole 37">
              <a:extLst>
                <a:ext uri="{FF2B5EF4-FFF2-40B4-BE49-F238E27FC236}">
                  <a16:creationId xmlns:a16="http://schemas.microsoft.com/office/drawing/2014/main" id="{B95E8653-E4B9-4A9C-A3BA-7FB1E50462AD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EC23CA2B-E553-4C62-85F7-02C8AE59A6D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0EF4F7F3-ED4F-4A00-BB1F-03A9F07AB219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4352010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Hl. m. Prah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94856142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5B398C7E-4B6B-4447-8929-889C92C8352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8411A1BB-905C-4BAD-A100-0D66E472438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5E2EDFBB-C19C-4D92-A1AA-820927C52692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1" name="Obdélník 40">
              <a:extLst>
                <a:ext uri="{FF2B5EF4-FFF2-40B4-BE49-F238E27FC236}">
                  <a16:creationId xmlns:a16="http://schemas.microsoft.com/office/drawing/2014/main" id="{4533BFFA-4B9E-476E-89B6-27E68A0C13DD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TextovéPole 41">
              <a:extLst>
                <a:ext uri="{FF2B5EF4-FFF2-40B4-BE49-F238E27FC236}">
                  <a16:creationId xmlns:a16="http://schemas.microsoft.com/office/drawing/2014/main" id="{515894F6-E46D-4AB3-A8CD-D282A9C010D4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35A31AE8-1A84-4837-9459-502BE4C78F15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E3D3D4EE-335D-464A-A2E6-967F4435653A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9D47A1B9-0A5C-4CED-B705-1A1898F3D0B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FF2CF47-B6DE-4FF1-9291-5F5A2C84383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264759" y="1422705"/>
            <a:ext cx="64771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A38E34E4-987B-4742-94EB-7B1387CD7D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264760" y="1420042"/>
            <a:ext cx="2205681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2A6E012E-1755-45DB-A166-1EC152DB53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D6E9AAAA-862B-4FA8-945F-DA40CF0314D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453446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879028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1" name="Obdélník 20">
            <a:extLst>
              <a:ext uri="{FF2B5EF4-FFF2-40B4-BE49-F238E27FC236}">
                <a16:creationId xmlns:a16="http://schemas.microsoft.com/office/drawing/2014/main" id="{EC840DA2-FF71-416D-B415-11781C5ABE8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B8C4B81-62A0-4AD9-8818-3D1F66471095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DA221BE0-3886-47CB-9939-E8076A9436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1D21DA1C-AC25-4556-820F-53ECB9C7B08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80DF5D0E-7CD9-4EFE-B17C-C5558F28C9D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10DC9788-CA0D-4991-92D8-01F43ABEE31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B7CD71D5-8C4B-41D7-9761-371345B72873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9048C666-752F-444D-A644-643EB94F5552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TextovéPole 37">
              <a:extLst>
                <a:ext uri="{FF2B5EF4-FFF2-40B4-BE49-F238E27FC236}">
                  <a16:creationId xmlns:a16="http://schemas.microsoft.com/office/drawing/2014/main" id="{B5202003-0F1C-4026-93D5-07FEED4DE48E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2A4002DB-F3A3-460A-836E-211E701A1DFD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B3FFE17D-BF2E-4395-8A8A-9A5CC68AE934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1953557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6819766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1" name="Obdélník 20">
            <a:extLst>
              <a:ext uri="{FF2B5EF4-FFF2-40B4-BE49-F238E27FC236}">
                <a16:creationId xmlns:a16="http://schemas.microsoft.com/office/drawing/2014/main" id="{DFE3F2AE-CFCF-4F4C-AA1E-77333FCC499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20534120-07EB-4BBE-9A59-777798C130D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842E4C9A-7035-4712-BFC5-439BE46C4A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49E5629E-403B-433A-BC9C-F91D1EFFA70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ED7E1D6A-7970-4E90-A782-5E3480C4912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71B9054A-B6BB-49BC-8D1E-BDC1E8ADFE5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53A66395-4962-442E-9A48-E523E9FAF25C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DA940CF5-C134-4281-A5B0-0CB962F0C79F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TextovéPole 37">
              <a:extLst>
                <a:ext uri="{FF2B5EF4-FFF2-40B4-BE49-F238E27FC236}">
                  <a16:creationId xmlns:a16="http://schemas.microsoft.com/office/drawing/2014/main" id="{AE959723-53A8-4546-9667-F368421DC0DA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74BFCBE3-4519-43A2-BE2D-D996C29DF27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F613E807-A94B-4626-A3F5-B0B9B7660D0D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4174525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3105230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1" name="Obdélník 20">
            <a:extLst>
              <a:ext uri="{FF2B5EF4-FFF2-40B4-BE49-F238E27FC236}">
                <a16:creationId xmlns:a16="http://schemas.microsoft.com/office/drawing/2014/main" id="{55BC32A5-EE0B-49AB-B8C4-474E57AC707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5F0EF01A-8B3B-407C-9C46-D67D95ABEAB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7DA3E775-0391-4391-A32C-8CE7157081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921C8277-611C-4B16-B5A4-A57214C8AA9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5" name="TextBox 9">
            <a:extLst>
              <a:ext uri="{FF2B5EF4-FFF2-40B4-BE49-F238E27FC236}">
                <a16:creationId xmlns:a16="http://schemas.microsoft.com/office/drawing/2014/main" id="{8BF19625-22D8-4904-8C50-00ADBEE0272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83B407B1-BE1A-425E-9B3C-CDB2EB71DCE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63520DCD-99F6-4C30-A17E-A6F0099C8D4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37CEFAD1-81B2-4EA2-A846-E49F500B83B0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TextovéPole 37">
              <a:extLst>
                <a:ext uri="{FF2B5EF4-FFF2-40B4-BE49-F238E27FC236}">
                  <a16:creationId xmlns:a16="http://schemas.microsoft.com/office/drawing/2014/main" id="{29561ECC-06EE-4B3B-AAB4-188CEA6EDA6B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D86E70C9-E3AA-40BE-86A2-7FAE1FEDF46A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6" name="Přímá spojnice 45">
              <a:extLst>
                <a:ext uri="{FF2B5EF4-FFF2-40B4-BE49-F238E27FC236}">
                  <a16:creationId xmlns:a16="http://schemas.microsoft.com/office/drawing/2014/main" id="{E100CD59-3564-41A8-B119-526B30502A49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956717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Střed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63154529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6413EE75-D2A8-4B1F-87D8-7315FF57956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8B082977-3FC8-48F2-9980-DF0A29D0E4AD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667231B6-00B5-4334-9898-EEC41B6CDAAC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3B56CB8B-3D03-417C-9A44-183119E04EF4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F37BF7F7-38A4-4E1C-BB18-4FB616421CAE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9A790DCA-FE13-41CD-8053-251990D5D29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9094E4BB-7F96-4B14-B499-967307218C84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4A364982-00C6-48DB-B925-24FF88503A3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421C49C-87E9-47D5-9749-B2ED8ECC944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54578" y="1128549"/>
            <a:ext cx="227668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A2C2564A-692E-4BFA-BEB7-0E6A79DDCE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7074573"/>
              </p:ext>
            </p:extLst>
          </p:nvPr>
        </p:nvGraphicFramePr>
        <p:xfrm>
          <a:off x="3180000" y="658863"/>
          <a:ext cx="8151174" cy="1579785"/>
        </p:xfrm>
        <a:graphic>
          <a:graphicData uri="http://schemas.openxmlformats.org/drawingml/2006/table">
            <a:tbl>
              <a:tblPr firstRow="1" bandRow="1"/>
              <a:tblGrid>
                <a:gridCol w="771174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44617975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591886087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4156419406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880197706"/>
                    </a:ext>
                  </a:extLst>
                </a:gridCol>
              </a:tblGrid>
              <a:tr h="16897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ukončené očkování bez posilující dávky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ukončené očkování s posilující dávkou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 fontAlgn="b"/>
                      <a:endParaRPr lang="cs-CZ" sz="12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 toho 65+</a:t>
                      </a:r>
                      <a:endParaRPr lang="cs-CZ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5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6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d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5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Únor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36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4AC1891B-3383-49B2-9D55-1F2C7A2E1FC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154578" y="1125886"/>
            <a:ext cx="2205681" cy="956770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23D08458-7086-4FCB-B5D8-9E2D6C5028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DCC42B09-B0A0-4CD8-9AD1-EBFFC45FF43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4285903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Jih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4936250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CDA1A390-1799-41B0-B3BB-12E2C0C1480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A4150AF6-3793-4620-9E9C-7FDCB298DA3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5B96BE57-E34D-47C8-AD2B-D9549144083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1502E087-87A6-4183-B3B4-2B81538EF831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24356622-3C26-4D6C-94D1-090EF07BAD3A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D763C9D1-D987-43CA-BD44-600B09405F59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1E93C149-792E-4566-9064-9CC4CAADC798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FF744DF5-DC69-4B7E-AAA8-E4E66230F3A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114C2732-DD5E-444B-83DE-300F6612DF2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264759" y="1422705"/>
            <a:ext cx="64771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665C113E-86FC-43AD-B611-B7CB1E73DEF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264760" y="1420042"/>
            <a:ext cx="2205681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89E748C0-0B78-497D-BE35-637DE4C6C96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86EA23C0-EC5B-4BC0-8194-01B907D374D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02163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Plzeň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0396409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0405C1DD-2E4D-443C-822F-BF59CC2D351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0B93CEE2-81AD-4E39-A14A-4B56D99C481B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CA06DCD2-63A7-4EF3-A1EA-FE62393FB0D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6174E6AF-02CC-4224-95C5-B031EC19298E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B6B6A5DF-2DDE-4DDE-9169-8818DD3B6004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777BA633-90A5-4609-B7C0-1BAA35BA58A5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44B00800-7894-4B8B-AC0A-2ED3099DE8D7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E49501C4-7DB6-414E-9AB9-BCF1DC2A9BA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3088A264-463E-486A-AFB4-9B15C9BC6A1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264759" y="1422705"/>
            <a:ext cx="64771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98891055-748D-45B9-A831-934BCEED3C9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264760" y="1420042"/>
            <a:ext cx="2205681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63D14B19-FBE1-4624-989E-5D7DCEDA04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14395FC6-A8CF-4818-8778-6888AABB25E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033646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arlovar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2359118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2BC6836D-0D7C-495E-B819-25F027C1F74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24245E5D-0A0D-4A03-8307-4872272EFC6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677A6E75-593A-41C6-9335-F55ADC0E64BB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0E456A32-EDD7-472D-9159-A9FF3948CA4A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EAB1A2FA-88D9-491A-AE44-09BA12857DA6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3A3AF0B3-CD0F-424F-889E-6926888EC3C5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1099F4B2-43DA-42E5-AD4C-4B43D9EB2F3C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3B8E9118-532A-456F-8290-1E49C329EDB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D160950D-3ABC-49D6-817A-65272AE2218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264759" y="1422705"/>
            <a:ext cx="64771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58D8909-B2DC-4B85-AC07-10A6BB85B6E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264760" y="1420042"/>
            <a:ext cx="2205681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DA43C72F-5EC8-44E1-A2F7-A348106CF30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1470FBB8-5E64-4E33-8EFE-62FA83818AD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9793867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Úst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4395229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0EE0CA7F-0816-4757-903B-CFB5EE190DD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84930086-83FE-4CED-BB23-00D483C16D93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170E3C46-C3CF-4D41-8572-9337F37E1970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F61B694B-6B9D-4FF7-A551-79C8281FD43A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514D03E7-EDE8-4DD0-B231-F224BB5A479C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32193604-9E9A-4C10-9E20-AFABB65F0602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A293CC58-CF89-413D-8D8C-23AE953F91A3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0F675BE6-134A-49CC-9648-F87FD43921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724249A9-6DB1-413F-85F3-5FBA4C90C3C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264759" y="1422705"/>
            <a:ext cx="64771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A16551F5-2AAA-4B79-9523-681E0A81698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264760" y="1420042"/>
            <a:ext cx="2205681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F160C9FA-C65E-467C-A17F-C40F5824E05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0659ACAC-3B3A-4BD9-B1C0-B408753083E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141155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Liber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7006649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5B48E177-C875-4F51-95A7-4F4FCDFC1A7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10F9BA5A-3C12-40B1-8685-92D0E9A182FE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B5A17E7D-B945-4EBB-95CB-3734FCFD48BC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9D96B024-A90C-4714-B717-21D81CAEB7BB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9740ABB8-B62D-4718-9DDC-CF9047A18270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E0AC8D4E-AF03-4DBD-92C1-C6F579701E77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EC27F847-DA3D-409A-9C39-697C14291553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4D705A72-CA74-4083-8C69-CAF94EE9663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DD364D9E-7E30-4065-A050-14120CCE0B6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264759" y="1422705"/>
            <a:ext cx="64771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8DDFE9F-D0CF-4910-B88D-12C41DD9D5C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264760" y="1420042"/>
            <a:ext cx="2205681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209BF307-FBB0-426A-B6C4-C3CC4DA52E5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EF08F88B-5DDF-4E13-BCD8-1F1CEECB001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0938047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61</TotalTime>
  <Words>3120</Words>
  <Application>Microsoft Office PowerPoint</Application>
  <PresentationFormat>Širokoúhlá obrazovka</PresentationFormat>
  <Paragraphs>356</Paragraphs>
  <Slides>32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KKIP03</vt:lpstr>
      <vt:lpstr>8_Motiv Office</vt:lpstr>
      <vt:lpstr>Epidemie COVID-19 v ČR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Epidemie COVID-19 v ČR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563</cp:revision>
  <dcterms:created xsi:type="dcterms:W3CDTF">2021-03-07T17:05:03Z</dcterms:created>
  <dcterms:modified xsi:type="dcterms:W3CDTF">2022-03-06T15:29:59Z</dcterms:modified>
</cp:coreProperties>
</file>